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334" r:id="rId3"/>
    <p:sldId id="262" r:id="rId4"/>
    <p:sldId id="277" r:id="rId5"/>
    <p:sldId id="264" r:id="rId6"/>
    <p:sldId id="270" r:id="rId7"/>
    <p:sldId id="335" r:id="rId8"/>
    <p:sldId id="336" r:id="rId9"/>
  </p:sldIdLst>
  <p:sldSz cx="12192000" cy="6858000"/>
  <p:notesSz cx="6807200" cy="9939338"/>
  <p:custDataLst>
    <p:tags r:id="rId1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" initials="P" lastIdx="1" clrIdx="0">
    <p:extLst>
      <p:ext uri="{19B8F6BF-5375-455C-9EA6-DF929625EA0E}">
        <p15:presenceInfo xmlns:p15="http://schemas.microsoft.com/office/powerpoint/2012/main" userId="P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F2221"/>
    <a:srgbClr val="FF9999"/>
    <a:srgbClr val="FFCCCC"/>
    <a:srgbClr val="155DAA"/>
    <a:srgbClr val="0459A7"/>
    <a:srgbClr val="1176BA"/>
    <a:srgbClr val="EA0E00"/>
    <a:srgbClr val="FB6D00"/>
    <a:srgbClr val="F65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71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3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5839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E1631-AB40-4116-9517-AC758C42238F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0648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5839" y="9440648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E33419-FB51-4D11-A8E4-3D3662954BA3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4999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8DC47AD-5898-4C78-B08F-6BF1AF0EFD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456BF9C9-94F0-4B6E-B200-0C8CF22C4C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54F4FF9-F930-4ABA-B85B-1505195D7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7A2CE3D9-0CB1-4C4A-BCBA-4DAF51D2F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C667E7AA-9740-43B6-9AB3-4F43112018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4564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53EAEF0-6129-4F0E-BE79-5D2570490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6B68C63B-4AC1-4EB3-874C-7BAAABBF1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F5A200D3-7300-44BC-8D46-B9D0122E8F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C7EC5DE-F40D-44C0-B83C-E66BF7E5F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36B2B625-40D8-4DC7-9B29-E53EC9F33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86835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AFE98AA0-C291-47FD-97E3-63A5268FA7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2A420438-CCC2-4C0D-B0BF-DA259BA351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471B1F4A-CF77-4A0F-9EE5-A1D77DFFBB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D684E4C-D80F-41B9-9E80-BAF6D580AF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60BF25E-4415-4820-BE79-F3F684A64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3306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23B21DE-323D-4762-B402-8B1609006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EBB3F8B7-4D52-4195-BB29-A0F266EC6E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344E750-E210-4002-9B1B-3BEE60B0C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BE987711-4B51-4B95-9DD9-700B03325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651C1295-0183-4FA7-BAF9-8F5434466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72655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B3FB482-B063-4CE5-BFF6-5AD894648D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5E56F855-900F-4363-9B88-6C94DB0216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83F2183-6350-45F6-9174-FC358375C0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55AC2EC-A36A-4902-BD27-E451B30E2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E230779-E4FC-4B3F-93CD-752FF60A3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9411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A958C9C-9496-4528-B3BA-30F5232E4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F1DDB104-BC16-4627-B8C1-F299B5BD2E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DC6CB6AC-B0AD-4126-A358-3565F9EBEB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50D4624-C7FA-4BF1-B3BE-8A18BF962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B0AD17EE-33C5-4419-8B5A-B0FAE14B3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D228A807-0283-4332-8578-38A4D2388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97506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7C7D17A-2FEE-4E04-B24A-19C9D1B9F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994A848-F994-410F-AEC0-E1ED99258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4822A07D-E105-4289-B015-10BE76FBA3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3987091E-CFFF-4378-A4B7-DCA7B7B16C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BF0F3C2-E14A-4B6F-AFCF-500066C850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3505FC6A-83C7-4212-A364-7560FD9D7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E07AF0B3-9312-4B6B-8F04-2D7C5C9DC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901702D1-58E4-490E-AFC6-F4E55DE47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333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E9CF69F-8332-4141-AD4A-D0DDA1449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2ABFF9F2-6B4E-4E8D-B717-EA12E0497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3ADCB845-CF85-4B89-8423-96E66FA70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73D77E-2922-48C9-A0FC-00AB73A19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4293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DB70C226-B2A2-4EED-879B-73DE64FC4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EF8F82CD-32EE-46C0-B105-0B5170B12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0C0D10C3-8F3E-42DB-B39E-EB8E6C8C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881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75287FC-2814-45BA-8E77-02D0AF784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08988A7F-CD41-4620-A8BF-C28EE6161B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C83C2D44-756E-4848-9C5D-87B162D05A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2E73F0D4-CEF2-48E0-BAD9-EDCDDDB0E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260ED48E-B2A4-4A13-83D5-F8DF235A3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4A454FD-635A-4188-9E94-04BFFA2F9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43493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DD5359B-6F10-447F-B08E-BA692FE313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75B20D9A-BA53-4245-8DB7-F7FCBA3F3E9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C69ED419-D8AA-4F0C-AFD6-01E4DA991E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C4CDD0E-8D72-4E5F-BB38-A3B4A597E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FD7288DC-2395-4BA2-8AFD-17A99D182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B0ECC8CF-C7D4-47F9-BF4E-A8DCA048D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32983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7AB52517-2597-47E2-A574-F44D6DD8D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40457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Слайд think-cell" r:id="rId15" imgW="425" imgH="424" progId="TCLayout.ActiveDocument.1">
                  <p:embed/>
                </p:oleObj>
              </mc:Choice>
              <mc:Fallback>
                <p:oleObj name="Слайд think-cell" r:id="rId15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xmlns="" id="{7AB52517-2597-47E2-A574-F44D6DD8D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36E531E-7565-46F8-8769-5A72607664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324D67E0-5AEC-42B3-8ADC-F6034B14C9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8966EC20-7212-4072-8ADB-1EA8F936DB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6FAD73-75E1-4F8D-83CB-5C2E9BAB2D71}" type="datetimeFigureOut">
              <a:rPr lang="ru-RU" smtClean="0"/>
              <a:t>13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40317BF2-EBB7-4D97-8DE4-C79506A1C4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637F6E36-52AB-4D6F-846C-C4E8DE695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4152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tags" Target="../tags/tag4.xml"/><Relationship Id="rId16" Type="http://schemas.openxmlformats.org/officeDocument/2006/relationships/image" Target="../media/image13.png"/><Relationship Id="rId20" Type="http://schemas.openxmlformats.org/officeDocument/2006/relationships/image" Target="../media/image3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19" Type="http://schemas.openxmlformats.org/officeDocument/2006/relationships/image" Target="../media/image1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svg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microsoft.com/office/2007/relationships/hdphoto" Target="../media/hdphoto1.wdp"/><Relationship Id="rId4" Type="http://schemas.openxmlformats.org/officeDocument/2006/relationships/image" Target="../media/image4.jpeg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4.jpeg"/><Relationship Id="rId9" Type="http://schemas.openxmlformats.org/officeDocument/2006/relationships/image" Target="../media/image20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8.png"/><Relationship Id="rId4" Type="http://schemas.openxmlformats.org/officeDocument/2006/relationships/image" Target="../media/image4.jpeg"/><Relationship Id="rId9" Type="http://schemas.openxmlformats.org/officeDocument/2006/relationships/image" Target="../media/image22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rosbuslines.ru/partnership/journal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4.jpeg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hyperlink" Target="http://www.rosbuslines.ru/partnership/journal" TargetMode="Externa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435F8FB6-41EA-4623-AFB1-E960E66EFC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4381" y="0"/>
            <a:ext cx="5107619" cy="6858000"/>
          </a:xfrm>
          <a:prstGeom prst="rect">
            <a:avLst/>
          </a:prstGeom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850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D768C88B-6F4F-43AF-A1AB-0E01CCD180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798" y="474819"/>
            <a:ext cx="6054409" cy="83099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BA112FD-34F4-4944-8266-715D26F9649A}"/>
              </a:ext>
            </a:extLst>
          </p:cNvPr>
          <p:cNvSpPr txBox="1"/>
          <p:nvPr/>
        </p:nvSpPr>
        <p:spPr>
          <a:xfrm>
            <a:off x="657798" y="3756714"/>
            <a:ext cx="932868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ln w="3175" cmpd="sng">
                  <a:noFill/>
                </a:ln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Цифровизация и регулирование </a:t>
            </a:r>
          </a:p>
          <a:p>
            <a:r>
              <a:rPr lang="ru-RU" sz="3200" b="1" dirty="0">
                <a:ln w="3175" cmpd="sng">
                  <a:noFill/>
                </a:ln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 автомобильном транспорте»</a:t>
            </a:r>
          </a:p>
        </p:txBody>
      </p:sp>
      <p:sp>
        <p:nvSpPr>
          <p:cNvPr id="7" name="TextBox 7">
            <a:extLst>
              <a:ext uri="{FF2B5EF4-FFF2-40B4-BE49-F238E27FC236}">
                <a16:creationId xmlns:a16="http://schemas.microsoft.com/office/drawing/2014/main" xmlns="" id="{EAC0A206-AF1D-4483-BEF0-ACDF6FE4576F}"/>
              </a:ext>
            </a:extLst>
          </p:cNvPr>
          <p:cNvSpPr txBox="1"/>
          <p:nvPr/>
        </p:nvSpPr>
        <p:spPr>
          <a:xfrm>
            <a:off x="657798" y="1732646"/>
            <a:ext cx="81269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ln w="3175" cmpd="sng">
                  <a:noFill/>
                </a:ln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жрегиональная Конференция организаций-членов</a:t>
            </a:r>
          </a:p>
          <a:p>
            <a:r>
              <a:rPr lang="ru-RU" b="1" dirty="0">
                <a:ln w="3175" cmpd="sng">
                  <a:noFill/>
                </a:ln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ссоциации «Развитие автовокзалов страны» и пассажирских автотранспортных предприятий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5388CF36-FE1F-485F-8481-7F53B9CFABF7}"/>
              </a:ext>
            </a:extLst>
          </p:cNvPr>
          <p:cNvSpPr txBox="1">
            <a:spLocks/>
          </p:cNvSpPr>
          <p:nvPr/>
        </p:nvSpPr>
        <p:spPr>
          <a:xfrm>
            <a:off x="4890654" y="6167967"/>
            <a:ext cx="2410691" cy="5125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. Нижний Новгород</a:t>
            </a:r>
          </a:p>
          <a:p>
            <a:pPr algn="ctr"/>
            <a:r>
              <a:rPr lang="ru-RU" sz="1600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нтябрь 2021 г.</a:t>
            </a:r>
            <a:endParaRPr lang="x-none" sz="1600" dirty="0">
              <a:solidFill>
                <a:srgbClr val="33333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5964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6D274969-A2E4-4884-8AB7-64D6732712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053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6D274969-A2E4-4884-8AB7-64D673271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EEA21954-FAB6-4BCA-BEA6-0D3F23B209E7}"/>
              </a:ext>
            </a:extLst>
          </p:cNvPr>
          <p:cNvGrpSpPr/>
          <p:nvPr/>
        </p:nvGrpSpPr>
        <p:grpSpPr>
          <a:xfrm>
            <a:off x="-479" y="0"/>
            <a:ext cx="9573006" cy="785312"/>
            <a:chOff x="-479" y="0"/>
            <a:chExt cx="9573006" cy="785312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xmlns="" id="{2F327651-8D03-48E7-B9C6-23D3FA906119}"/>
                </a:ext>
              </a:extLst>
            </p:cNvPr>
            <p:cNvGrpSpPr/>
            <p:nvPr/>
          </p:nvGrpSpPr>
          <p:grpSpPr>
            <a:xfrm>
              <a:off x="-479" y="0"/>
              <a:ext cx="9573006" cy="785312"/>
              <a:chOff x="-479" y="0"/>
              <a:chExt cx="9573006" cy="785312"/>
            </a:xfrm>
          </p:grpSpPr>
          <p:pic>
            <p:nvPicPr>
              <p:cNvPr id="26" name="Рисунок 25">
                <a:extLst>
                  <a:ext uri="{FF2B5EF4-FFF2-40B4-BE49-F238E27FC236}">
                    <a16:creationId xmlns:a16="http://schemas.microsoft.com/office/drawing/2014/main" xmlns="" id="{A0CBFC77-A1D1-4919-8D61-DADA8DAFEC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8107"/>
              <a:stretch/>
            </p:blipFill>
            <p:spPr>
              <a:xfrm rot="10800000" flipV="1">
                <a:off x="8259096" y="0"/>
                <a:ext cx="1313431" cy="785312"/>
              </a:xfrm>
              <a:prstGeom prst="rect">
                <a:avLst/>
              </a:prstGeom>
            </p:spPr>
          </p:pic>
          <p:sp>
            <p:nvSpPr>
              <p:cNvPr id="2" name="Прямоугольник 1">
                <a:extLst>
                  <a:ext uri="{FF2B5EF4-FFF2-40B4-BE49-F238E27FC236}">
                    <a16:creationId xmlns:a16="http://schemas.microsoft.com/office/drawing/2014/main" xmlns="" id="{CB0E57F0-7DE8-4780-A088-9D9E27309168}"/>
                  </a:ext>
                </a:extLst>
              </p:cNvPr>
              <p:cNvSpPr/>
              <p:nvPr/>
            </p:nvSpPr>
            <p:spPr>
              <a:xfrm>
                <a:off x="-479" y="0"/>
                <a:ext cx="8363244" cy="785312"/>
              </a:xfrm>
              <a:prstGeom prst="rect">
                <a:avLst/>
              </a:prstGeom>
              <a:solidFill>
                <a:srgbClr val="FF222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D05E5852-303E-499A-9D1C-8FCBF1C88BB0}"/>
                </a:ext>
              </a:extLst>
            </p:cNvPr>
            <p:cNvSpPr txBox="1"/>
            <p:nvPr/>
          </p:nvSpPr>
          <p:spPr>
            <a:xfrm>
              <a:off x="1" y="115501"/>
              <a:ext cx="61445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2</a:t>
              </a:r>
            </a:p>
          </p:txBody>
        </p:sp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xmlns="" id="{DF9B24BE-7100-4078-BB7B-3662EFF93192}"/>
                </a:ext>
              </a:extLst>
            </p:cNvPr>
            <p:cNvCxnSpPr/>
            <p:nvPr/>
          </p:nvCxnSpPr>
          <p:spPr>
            <a:xfrm>
              <a:off x="614462" y="115501"/>
              <a:ext cx="0" cy="52322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259AE9EC-4415-4CE9-8745-37B91DC7ACA3}"/>
              </a:ext>
            </a:extLst>
          </p:cNvPr>
          <p:cNvSpPr/>
          <p:nvPr/>
        </p:nvSpPr>
        <p:spPr>
          <a:xfrm>
            <a:off x="714083" y="42855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ЕГУЛИРОВАНИЕ ЦИФРОВИЗАЦИИ </a:t>
            </a:r>
          </a:p>
          <a:p>
            <a:r>
              <a:rPr lang="ru-RU" sz="20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НА АВТОМОБИЛЬНОМ ТРАНСПОРТЕ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1D53A443-6D16-4718-B835-5D25CB4AFE8D}"/>
              </a:ext>
            </a:extLst>
          </p:cNvPr>
          <p:cNvSpPr/>
          <p:nvPr/>
        </p:nvSpPr>
        <p:spPr>
          <a:xfrm>
            <a:off x="4725689" y="1366550"/>
            <a:ext cx="2695934" cy="3981242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1002">
            <a:schemeClr val="lt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03DB149C-F3E8-47AB-9692-0158B78529ED}"/>
              </a:ext>
            </a:extLst>
          </p:cNvPr>
          <p:cNvSpPr/>
          <p:nvPr/>
        </p:nvSpPr>
        <p:spPr>
          <a:xfrm>
            <a:off x="1851419" y="1358444"/>
            <a:ext cx="2565506" cy="3981242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1002">
            <a:schemeClr val="lt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9F376E96-DB8C-497C-BFF1-1DD091793019}"/>
              </a:ext>
            </a:extLst>
          </p:cNvPr>
          <p:cNvSpPr txBox="1"/>
          <p:nvPr/>
        </p:nvSpPr>
        <p:spPr>
          <a:xfrm>
            <a:off x="1534981" y="5507229"/>
            <a:ext cx="2881944" cy="26161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/>
            <a:r>
              <a:rPr lang="ru-RU" sz="1100" dirty="0">
                <a:ln w="3175" cmpd="sng">
                  <a:noFill/>
                </a:ln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ДАЖА БИЛЕТОВ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BC9A3E6D-65A9-4675-9141-99D734D4F7F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354" y="3588390"/>
            <a:ext cx="1300773" cy="497354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xmlns="" id="{9822A1A8-AA18-4953-A25C-40E2D29D5B3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230317" y="3362916"/>
            <a:ext cx="1573502" cy="261610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xmlns="" id="{1CA80779-2B13-4E7B-9936-9B84C41E966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306" y="3838431"/>
            <a:ext cx="1538998" cy="306037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xmlns="" id="{BA6F31F2-8C96-4D1B-8A18-915091E6714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978" y="4342101"/>
            <a:ext cx="1396289" cy="368939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9DBE5926-4BCD-4CA4-9150-34DA0024F88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4493" y="4197895"/>
            <a:ext cx="1002490" cy="454462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91E69C82-1B56-497D-9EDB-7C79FAB39309}"/>
              </a:ext>
            </a:extLst>
          </p:cNvPr>
          <p:cNvSpPr txBox="1"/>
          <p:nvPr/>
        </p:nvSpPr>
        <p:spPr>
          <a:xfrm>
            <a:off x="4615554" y="5536864"/>
            <a:ext cx="2881944" cy="26161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/>
            <a:r>
              <a:rPr lang="ru-RU" sz="1100" dirty="0">
                <a:ln w="3175" cmpd="sng">
                  <a:noFill/>
                </a:ln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РПУЛЛИНГ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054084FA-FE58-4683-AC69-13F90396C9DE}"/>
              </a:ext>
            </a:extLst>
          </p:cNvPr>
          <p:cNvSpPr txBox="1"/>
          <p:nvPr/>
        </p:nvSpPr>
        <p:spPr>
          <a:xfrm>
            <a:off x="7544374" y="5507229"/>
            <a:ext cx="2881944" cy="26161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/>
            <a:r>
              <a:rPr lang="ru-RU" sz="1100" dirty="0">
                <a:ln w="3175" cmpd="sng">
                  <a:noFill/>
                </a:ln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СВЕДОЗАКАЗ И НЕЛЕГАЛЫ</a:t>
            </a:r>
          </a:p>
        </p:txBody>
      </p:sp>
      <p:pic>
        <p:nvPicPr>
          <p:cNvPr id="46" name="Picture 4">
            <a:extLst>
              <a:ext uri="{FF2B5EF4-FFF2-40B4-BE49-F238E27FC236}">
                <a16:creationId xmlns:a16="http://schemas.microsoft.com/office/drawing/2014/main" xmlns="" id="{8A7C044C-1119-4ABF-8FFF-8F3A5189C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2354" y="3138394"/>
            <a:ext cx="1335820" cy="299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">
            <a:extLst>
              <a:ext uri="{FF2B5EF4-FFF2-40B4-BE49-F238E27FC236}">
                <a16:creationId xmlns:a16="http://schemas.microsoft.com/office/drawing/2014/main" xmlns="" id="{71B6AD6E-6AC6-4A7C-8718-3EEA7EBDAD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4493" y="4837967"/>
            <a:ext cx="1437426" cy="368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6E737CB7-53E7-4881-9E5D-CC8F55A3DE2E}"/>
              </a:ext>
            </a:extLst>
          </p:cNvPr>
          <p:cNvSpPr/>
          <p:nvPr/>
        </p:nvSpPr>
        <p:spPr>
          <a:xfrm>
            <a:off x="7730384" y="1350340"/>
            <a:ext cx="2695934" cy="3997452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1002">
            <a:schemeClr val="lt2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xmlns="" id="{BBAF30D8-015D-4882-89D1-C13AD4272B34}"/>
              </a:ext>
            </a:extLst>
          </p:cNvPr>
          <p:cNvCxnSpPr>
            <a:cxnSpLocks/>
          </p:cNvCxnSpPr>
          <p:nvPr/>
        </p:nvCxnSpPr>
        <p:spPr>
          <a:xfrm flipV="1">
            <a:off x="815036" y="5412771"/>
            <a:ext cx="10482980" cy="15376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  <a:headEnd type="non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Рисунок 49">
            <a:extLst>
              <a:ext uri="{FF2B5EF4-FFF2-40B4-BE49-F238E27FC236}">
                <a16:creationId xmlns:a16="http://schemas.microsoft.com/office/drawing/2014/main" xmlns="" id="{0AC7D55C-A5CC-410E-AE23-74325FFEC147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8703" y="4631060"/>
            <a:ext cx="719295" cy="719295"/>
          </a:xfrm>
          <a:prstGeom prst="rect">
            <a:avLst/>
          </a:prstGeom>
        </p:spPr>
      </p:pic>
      <p:grpSp>
        <p:nvGrpSpPr>
          <p:cNvPr id="51" name="Группа 50">
            <a:extLst>
              <a:ext uri="{FF2B5EF4-FFF2-40B4-BE49-F238E27FC236}">
                <a16:creationId xmlns:a16="http://schemas.microsoft.com/office/drawing/2014/main" xmlns="" id="{238B065D-1286-4996-82B7-3B0C0E152A57}"/>
              </a:ext>
            </a:extLst>
          </p:cNvPr>
          <p:cNvGrpSpPr/>
          <p:nvPr/>
        </p:nvGrpSpPr>
        <p:grpSpPr>
          <a:xfrm>
            <a:off x="8167855" y="4042090"/>
            <a:ext cx="2048815" cy="507831"/>
            <a:chOff x="9151162" y="1619028"/>
            <a:chExt cx="2310239" cy="572629"/>
          </a:xfrm>
        </p:grpSpPr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xmlns="" id="{E231F355-8023-41B2-A1ED-B5AE34052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51162" y="1734469"/>
              <a:ext cx="328963" cy="355858"/>
            </a:xfrm>
            <a:prstGeom prst="rect">
              <a:avLst/>
            </a:prstGeom>
          </p:spPr>
        </p:pic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xmlns="" id="{C81BA816-1E93-49AF-B585-CBFE4563B98C}"/>
                </a:ext>
              </a:extLst>
            </p:cNvPr>
            <p:cNvSpPr txBox="1"/>
            <p:nvPr/>
          </p:nvSpPr>
          <p:spPr>
            <a:xfrm>
              <a:off x="9492913" y="1619028"/>
              <a:ext cx="1968488" cy="572629"/>
            </a:xfrm>
            <a:prstGeom prst="rect">
              <a:avLst/>
            </a:prstGeom>
            <a:noFill/>
          </p:spPr>
          <p:txBody>
            <a:bodyPr wrap="square" tIns="0" bIns="0" rtlCol="0">
              <a:spAutoFit/>
            </a:bodyPr>
            <a:lstStyle/>
            <a:p>
              <a:pPr defTabSz="360000"/>
              <a:r>
                <a:rPr lang="ru-RU" sz="1100" dirty="0"/>
                <a:t>сайты  </a:t>
              </a:r>
              <a:endParaRPr lang="en-US" sz="1100" dirty="0"/>
            </a:p>
            <a:p>
              <a:pPr defTabSz="360000"/>
              <a:r>
                <a:rPr lang="ru-RU" sz="1100" dirty="0"/>
                <a:t>по продаже билетов псевдозаказников</a:t>
              </a:r>
            </a:p>
          </p:txBody>
        </p:sp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xmlns="" id="{2668F97E-CD09-497B-8C98-415478661DF8}"/>
              </a:ext>
            </a:extLst>
          </p:cNvPr>
          <p:cNvGrpSpPr/>
          <p:nvPr/>
        </p:nvGrpSpPr>
        <p:grpSpPr>
          <a:xfrm>
            <a:off x="7939833" y="3182092"/>
            <a:ext cx="2426101" cy="719295"/>
            <a:chOff x="8694435" y="3333013"/>
            <a:chExt cx="2426101" cy="719295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xmlns="" id="{E1846D79-EF67-4B4F-893A-8DDB2227C856}"/>
                </a:ext>
              </a:extLst>
            </p:cNvPr>
            <p:cNvSpPr txBox="1"/>
            <p:nvPr/>
          </p:nvSpPr>
          <p:spPr>
            <a:xfrm>
              <a:off x="9374800" y="3519576"/>
              <a:ext cx="1745736" cy="338554"/>
            </a:xfrm>
            <a:prstGeom prst="rect">
              <a:avLst/>
            </a:prstGeom>
            <a:noFill/>
          </p:spPr>
          <p:txBody>
            <a:bodyPr wrap="square" tIns="0" bIns="0" rtlCol="0">
              <a:spAutoFit/>
            </a:bodyPr>
            <a:lstStyle/>
            <a:p>
              <a:pPr defTabSz="360000"/>
              <a:r>
                <a:rPr lang="ru-RU" sz="1100" dirty="0"/>
                <a:t>Сервис в социальных  сетях</a:t>
              </a:r>
            </a:p>
          </p:txBody>
        </p:sp>
        <p:pic>
          <p:nvPicPr>
            <p:cNvPr id="56" name="Picture 10">
              <a:extLst>
                <a:ext uri="{FF2B5EF4-FFF2-40B4-BE49-F238E27FC236}">
                  <a16:creationId xmlns:a16="http://schemas.microsoft.com/office/drawing/2014/main" xmlns="" id="{F6E11ADB-6D5D-46F3-81ED-422823D491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4435" y="3333013"/>
              <a:ext cx="719295" cy="719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2C6FD306-5569-499C-A3EC-D1DB7A20E5F7}"/>
              </a:ext>
            </a:extLst>
          </p:cNvPr>
          <p:cNvSpPr txBox="1"/>
          <p:nvPr/>
        </p:nvSpPr>
        <p:spPr>
          <a:xfrm>
            <a:off x="1504936" y="6116838"/>
            <a:ext cx="9182129" cy="4055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ru-RU" sz="2000" b="1" dirty="0">
                <a:solidFill>
                  <a:srgbClr val="FF222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ельзя уповать только на добросовестность операторов сервисов</a:t>
            </a:r>
            <a:endParaRPr lang="en-US" sz="2000" b="1" dirty="0">
              <a:solidFill>
                <a:srgbClr val="FF222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E645E406-A9B1-4BE4-9597-8C3386DFAD54}"/>
              </a:ext>
            </a:extLst>
          </p:cNvPr>
          <p:cNvSpPr txBox="1"/>
          <p:nvPr/>
        </p:nvSpPr>
        <p:spPr>
          <a:xfrm>
            <a:off x="10158845" y="5557232"/>
            <a:ext cx="1315637" cy="43088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algn="ctr"/>
            <a:r>
              <a:rPr lang="ru-RU" sz="1100" dirty="0">
                <a:ln w="3175" cmpd="sng">
                  <a:noFill/>
                </a:ln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ДУКТЫ И СЕРВИСЫ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xmlns="" id="{BAB110D5-7669-4856-B0C5-42BFE2F483FE}"/>
              </a:ext>
            </a:extLst>
          </p:cNvPr>
          <p:cNvSpPr/>
          <p:nvPr/>
        </p:nvSpPr>
        <p:spPr>
          <a:xfrm>
            <a:off x="563974" y="1685471"/>
            <a:ext cx="10568624" cy="36933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bg2">
                    <a:lumMod val="25000"/>
                  </a:schemeClr>
                </a:solidFill>
              </a:rPr>
              <a:t>КОНТРОЛЬ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5E8EEE43-2549-4DD4-A36E-B566B839CF54}"/>
              </a:ext>
            </a:extLst>
          </p:cNvPr>
          <p:cNvSpPr/>
          <p:nvPr/>
        </p:nvSpPr>
        <p:spPr>
          <a:xfrm>
            <a:off x="543542" y="2405265"/>
            <a:ext cx="10589056" cy="36933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bg2">
                    <a:lumMod val="25000"/>
                  </a:schemeClr>
                </a:solidFill>
              </a:rPr>
              <a:t>ПРАВИЛА</a:t>
            </a:r>
          </a:p>
        </p:txBody>
      </p:sp>
      <p:pic>
        <p:nvPicPr>
          <p:cNvPr id="62" name="Рисунок 61">
            <a:extLst>
              <a:ext uri="{FF2B5EF4-FFF2-40B4-BE49-F238E27FC236}">
                <a16:creationId xmlns:a16="http://schemas.microsoft.com/office/drawing/2014/main" xmlns="" id="{C2D21397-6725-4D91-B34C-293B2794ADC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659130">
            <a:off x="1991082" y="1797791"/>
            <a:ext cx="2172155" cy="713066"/>
          </a:xfrm>
          <a:prstGeom prst="rect">
            <a:avLst/>
          </a:prstGeom>
        </p:spPr>
      </p:pic>
      <p:pic>
        <p:nvPicPr>
          <p:cNvPr id="64" name="Рисунок 63">
            <a:extLst>
              <a:ext uri="{FF2B5EF4-FFF2-40B4-BE49-F238E27FC236}">
                <a16:creationId xmlns:a16="http://schemas.microsoft.com/office/drawing/2014/main" xmlns="" id="{EA3D6430-2BAF-42E6-8FE7-2DBC84EBB18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659130">
            <a:off x="4930989" y="1868725"/>
            <a:ext cx="2172155" cy="713066"/>
          </a:xfrm>
          <a:prstGeom prst="rect">
            <a:avLst/>
          </a:prstGeom>
        </p:spPr>
      </p:pic>
      <p:pic>
        <p:nvPicPr>
          <p:cNvPr id="65" name="Рисунок 64">
            <a:extLst>
              <a:ext uri="{FF2B5EF4-FFF2-40B4-BE49-F238E27FC236}">
                <a16:creationId xmlns:a16="http://schemas.microsoft.com/office/drawing/2014/main" xmlns="" id="{0763FFF8-26DA-47CF-8AF3-1951B1EE3A01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424" y="1461624"/>
            <a:ext cx="1076134" cy="254051"/>
          </a:xfrm>
          <a:prstGeom prst="rect">
            <a:avLst/>
          </a:prstGeom>
        </p:spPr>
      </p:pic>
      <p:pic>
        <p:nvPicPr>
          <p:cNvPr id="67" name="Рисунок 66">
            <a:extLst>
              <a:ext uri="{FF2B5EF4-FFF2-40B4-BE49-F238E27FC236}">
                <a16:creationId xmlns:a16="http://schemas.microsoft.com/office/drawing/2014/main" xmlns="" id="{5156CED0-D586-46A9-9B49-E6D4296C183B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8380" y="1457412"/>
            <a:ext cx="1076134" cy="254051"/>
          </a:xfrm>
          <a:prstGeom prst="rect">
            <a:avLst/>
          </a:prstGeom>
          <a:noFill/>
        </p:spPr>
      </p:pic>
      <p:pic>
        <p:nvPicPr>
          <p:cNvPr id="68" name="Рисунок 67">
            <a:extLst>
              <a:ext uri="{FF2B5EF4-FFF2-40B4-BE49-F238E27FC236}">
                <a16:creationId xmlns:a16="http://schemas.microsoft.com/office/drawing/2014/main" xmlns="" id="{8D848102-35F7-47AC-8884-9F78B9C25220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1816" y="1461622"/>
            <a:ext cx="1076134" cy="254051"/>
          </a:xfrm>
          <a:prstGeom prst="rect">
            <a:avLst/>
          </a:prstGeom>
        </p:spPr>
      </p:pic>
      <p:pic>
        <p:nvPicPr>
          <p:cNvPr id="69" name="Рисунок 68">
            <a:extLst>
              <a:ext uri="{FF2B5EF4-FFF2-40B4-BE49-F238E27FC236}">
                <a16:creationId xmlns:a16="http://schemas.microsoft.com/office/drawing/2014/main" xmlns="" id="{947EBC3E-6384-4145-84F4-CA1EC848A32A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659130">
            <a:off x="7945651" y="1828652"/>
            <a:ext cx="2172155" cy="713066"/>
          </a:xfrm>
          <a:prstGeom prst="rect">
            <a:avLst/>
          </a:prstGeom>
        </p:spPr>
      </p:pic>
      <p:pic>
        <p:nvPicPr>
          <p:cNvPr id="70" name="Рисунок 69">
            <a:extLst>
              <a:ext uri="{FF2B5EF4-FFF2-40B4-BE49-F238E27FC236}">
                <a16:creationId xmlns:a16="http://schemas.microsoft.com/office/drawing/2014/main" xmlns="" id="{ABD6EA06-2A09-46BF-8DF3-6CF034EABCF5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0968" y="214666"/>
            <a:ext cx="2690849" cy="369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085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Группа 25">
            <a:extLst>
              <a:ext uri="{FF2B5EF4-FFF2-40B4-BE49-F238E27FC236}">
                <a16:creationId xmlns:a16="http://schemas.microsoft.com/office/drawing/2014/main" xmlns="" id="{0B27926A-C315-4025-B02C-32339DFE541B}"/>
              </a:ext>
            </a:extLst>
          </p:cNvPr>
          <p:cNvGrpSpPr/>
          <p:nvPr/>
        </p:nvGrpSpPr>
        <p:grpSpPr>
          <a:xfrm>
            <a:off x="-479" y="0"/>
            <a:ext cx="9573006" cy="785312"/>
            <a:chOff x="-479" y="0"/>
            <a:chExt cx="9573006" cy="785312"/>
          </a:xfrm>
        </p:grpSpPr>
        <p:grpSp>
          <p:nvGrpSpPr>
            <p:cNvPr id="28" name="Группа 27">
              <a:extLst>
                <a:ext uri="{FF2B5EF4-FFF2-40B4-BE49-F238E27FC236}">
                  <a16:creationId xmlns:a16="http://schemas.microsoft.com/office/drawing/2014/main" xmlns="" id="{E4D30057-B4A0-4DDD-AE60-0C41F13DE3BA}"/>
                </a:ext>
              </a:extLst>
            </p:cNvPr>
            <p:cNvGrpSpPr/>
            <p:nvPr/>
          </p:nvGrpSpPr>
          <p:grpSpPr>
            <a:xfrm>
              <a:off x="-479" y="0"/>
              <a:ext cx="9573006" cy="785312"/>
              <a:chOff x="-479" y="0"/>
              <a:chExt cx="9573006" cy="785312"/>
            </a:xfrm>
          </p:grpSpPr>
          <p:pic>
            <p:nvPicPr>
              <p:cNvPr id="36" name="Рисунок 35">
                <a:extLst>
                  <a:ext uri="{FF2B5EF4-FFF2-40B4-BE49-F238E27FC236}">
                    <a16:creationId xmlns:a16="http://schemas.microsoft.com/office/drawing/2014/main" xmlns="" id="{A66E4950-A5A8-4B8B-8C0E-2F9B3E467BB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8107"/>
              <a:stretch/>
            </p:blipFill>
            <p:spPr>
              <a:xfrm rot="10800000" flipV="1">
                <a:off x="8259096" y="0"/>
                <a:ext cx="1313431" cy="785312"/>
              </a:xfrm>
              <a:prstGeom prst="rect">
                <a:avLst/>
              </a:prstGeom>
            </p:spPr>
          </p:pic>
          <p:sp>
            <p:nvSpPr>
              <p:cNvPr id="37" name="Прямоугольник 36">
                <a:extLst>
                  <a:ext uri="{FF2B5EF4-FFF2-40B4-BE49-F238E27FC236}">
                    <a16:creationId xmlns:a16="http://schemas.microsoft.com/office/drawing/2014/main" xmlns="" id="{8B7F1D2F-FA3B-40E0-9666-64F68839195F}"/>
                  </a:ext>
                </a:extLst>
              </p:cNvPr>
              <p:cNvSpPr/>
              <p:nvPr/>
            </p:nvSpPr>
            <p:spPr>
              <a:xfrm>
                <a:off x="-479" y="0"/>
                <a:ext cx="8363244" cy="785312"/>
              </a:xfrm>
              <a:prstGeom prst="rect">
                <a:avLst/>
              </a:prstGeom>
              <a:solidFill>
                <a:srgbClr val="FF222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95A01E0A-C667-45BC-9E29-251E54912ADD}"/>
                </a:ext>
              </a:extLst>
            </p:cNvPr>
            <p:cNvSpPr txBox="1"/>
            <p:nvPr/>
          </p:nvSpPr>
          <p:spPr>
            <a:xfrm>
              <a:off x="1" y="115501"/>
              <a:ext cx="61445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3</a:t>
              </a:r>
            </a:p>
          </p:txBody>
        </p: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xmlns="" id="{29AE0F30-DC1B-4664-8E2B-8DEEB2D40E8C}"/>
                </a:ext>
              </a:extLst>
            </p:cNvPr>
            <p:cNvCxnSpPr/>
            <p:nvPr/>
          </p:nvCxnSpPr>
          <p:spPr>
            <a:xfrm>
              <a:off x="614462" y="115501"/>
              <a:ext cx="0" cy="52322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219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613BB0A8-6466-4830-8BCE-3B4B9A0FBBEE}"/>
              </a:ext>
            </a:extLst>
          </p:cNvPr>
          <p:cNvSpPr/>
          <p:nvPr/>
        </p:nvSpPr>
        <p:spPr>
          <a:xfrm>
            <a:off x="714083" y="189875"/>
            <a:ext cx="5711243" cy="4055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РЕГУЛИРОВАНИЕ = ЗАКОН + МОНИТОРИНГ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AEFC50C2-0019-4253-91B9-230608A33D8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0968" y="214666"/>
            <a:ext cx="2690849" cy="36933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B767D611-CBD1-44CD-9FDF-A5A141D5DA04}"/>
              </a:ext>
            </a:extLst>
          </p:cNvPr>
          <p:cNvSpPr txBox="1"/>
          <p:nvPr/>
        </p:nvSpPr>
        <p:spPr>
          <a:xfrm>
            <a:off x="2181707" y="1478639"/>
            <a:ext cx="1383969" cy="37369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b="1" dirty="0">
                <a:solidFill>
                  <a:schemeClr val="bg2">
                    <a:lumMod val="25000"/>
                  </a:schemeClr>
                </a:solidFill>
              </a:rPr>
              <a:t>ЗАКОН</a:t>
            </a:r>
            <a:endParaRPr lang="en-US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F67A4BD0-9A31-4480-8497-370385510F4C}"/>
              </a:ext>
            </a:extLst>
          </p:cNvPr>
          <p:cNvSpPr txBox="1"/>
          <p:nvPr/>
        </p:nvSpPr>
        <p:spPr>
          <a:xfrm>
            <a:off x="7231317" y="1471426"/>
            <a:ext cx="1762790" cy="37555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b="1" dirty="0"/>
              <a:t>МОНИТОРИНГ</a:t>
            </a:r>
            <a:endParaRPr lang="en-US" b="1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2BCD3635-6F60-4F03-82DD-32A5533FE969}"/>
              </a:ext>
            </a:extLst>
          </p:cNvPr>
          <p:cNvSpPr txBox="1"/>
          <p:nvPr/>
        </p:nvSpPr>
        <p:spPr>
          <a:xfrm>
            <a:off x="1211877" y="1846795"/>
            <a:ext cx="32805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наличие правил</a:t>
            </a:r>
            <a:endParaRPr lang="en-US" sz="1600" b="1" dirty="0">
              <a:solidFill>
                <a:schemeClr val="bg2">
                  <a:lumMod val="25000"/>
                </a:schemeClr>
              </a:solidFill>
              <a:latin typeface="Open Sans" panose="020B0606030504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BFEA8F1E-F9AD-41E5-A75B-9C484933001D}"/>
              </a:ext>
            </a:extLst>
          </p:cNvPr>
          <p:cNvSpPr txBox="1"/>
          <p:nvPr/>
        </p:nvSpPr>
        <p:spPr>
          <a:xfrm>
            <a:off x="1227127" y="4695422"/>
            <a:ext cx="2812308" cy="3736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>
                <a:srgbClr val="029DE0"/>
              </a:buClr>
            </a:pPr>
            <a:r>
              <a:rPr lang="ru-RU" b="1" dirty="0">
                <a:solidFill>
                  <a:schemeClr val="tx2"/>
                </a:solidFill>
              </a:rPr>
              <a:t>Требования к карпулингу</a:t>
            </a:r>
            <a:endParaRPr lang="en-US" b="1" dirty="0">
              <a:solidFill>
                <a:schemeClr val="tx2"/>
              </a:solidFill>
              <a:latin typeface="Open Sans" panose="020B0606030504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407791F7-DBD2-4A07-8C46-2DC2D44047C3}"/>
              </a:ext>
            </a:extLst>
          </p:cNvPr>
          <p:cNvSpPr txBox="1"/>
          <p:nvPr/>
        </p:nvSpPr>
        <p:spPr>
          <a:xfrm>
            <a:off x="1227128" y="4336359"/>
            <a:ext cx="2916761" cy="3736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>
                <a:srgbClr val="029DE0"/>
              </a:buClr>
            </a:pPr>
            <a:r>
              <a:rPr lang="ru-RU" b="1" dirty="0">
                <a:solidFill>
                  <a:schemeClr val="tx2"/>
                </a:solidFill>
              </a:rPr>
              <a:t>Требования к агрегаторам</a:t>
            </a:r>
            <a:endParaRPr lang="en-US" b="1" dirty="0">
              <a:solidFill>
                <a:schemeClr val="tx2"/>
              </a:solidFill>
              <a:latin typeface="Open Sans" panose="020B0606030504020204" pitchFamily="34" charset="0"/>
            </a:endParaRP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xmlns="" id="{0ECA96A3-70BF-4EE5-95FF-3162BDCAEC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1247" y="2285837"/>
            <a:ext cx="1642663" cy="416705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1E578E00-0AD5-4252-9122-A056DB899779}"/>
              </a:ext>
            </a:extLst>
          </p:cNvPr>
          <p:cNvSpPr txBox="1"/>
          <p:nvPr/>
        </p:nvSpPr>
        <p:spPr>
          <a:xfrm>
            <a:off x="3054045" y="6073994"/>
            <a:ext cx="6083910" cy="4055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defRPr sz="2100" b="1">
                <a:solidFill>
                  <a:schemeClr val="tx2"/>
                </a:solidFill>
              </a:defRPr>
            </a:lvl1pPr>
          </a:lstStyle>
          <a:p>
            <a:r>
              <a:rPr lang="ru-RU" sz="2000" dirty="0">
                <a:solidFill>
                  <a:srgbClr val="FF222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Цифровизация обгоняет законотворчество</a:t>
            </a:r>
            <a:endParaRPr lang="en-US" sz="2000" dirty="0">
              <a:solidFill>
                <a:srgbClr val="FF222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FEB11493-046B-43A7-9EF4-B4043D5DCFFD}"/>
              </a:ext>
            </a:extLst>
          </p:cNvPr>
          <p:cNvSpPr txBox="1"/>
          <p:nvPr/>
        </p:nvSpPr>
        <p:spPr>
          <a:xfrm>
            <a:off x="9855316" y="3757586"/>
            <a:ext cx="163378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Законопроект </a:t>
            </a:r>
          </a:p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изм. ст. 34 220-ФЗ</a:t>
            </a:r>
          </a:p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 во втором чтении</a:t>
            </a:r>
          </a:p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 Гос. Думы РФ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8474B5ED-DD32-463F-ADF1-6B36CB4B6F7C}"/>
              </a:ext>
            </a:extLst>
          </p:cNvPr>
          <p:cNvSpPr txBox="1"/>
          <p:nvPr/>
        </p:nvSpPr>
        <p:spPr>
          <a:xfrm>
            <a:off x="6860766" y="3779661"/>
            <a:ext cx="170110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Второе поручение </a:t>
            </a:r>
          </a:p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Президента РФ</a:t>
            </a:r>
          </a:p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Пр-1381ГС, п.1 з)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45E818BC-43EB-4A06-ABB0-A85603FBEF6C}"/>
              </a:ext>
            </a:extLst>
          </p:cNvPr>
          <p:cNvSpPr txBox="1"/>
          <p:nvPr/>
        </p:nvSpPr>
        <p:spPr>
          <a:xfrm>
            <a:off x="5228412" y="3748708"/>
            <a:ext cx="176824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Первое поручение </a:t>
            </a:r>
          </a:p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Президента РФ</a:t>
            </a:r>
          </a:p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Пр-2165ГС, п.1 и)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D7A22446-13B5-42D7-86E6-09760B650879}"/>
              </a:ext>
            </a:extLst>
          </p:cNvPr>
          <p:cNvSpPr txBox="1"/>
          <p:nvPr/>
        </p:nvSpPr>
        <p:spPr>
          <a:xfrm>
            <a:off x="8499086" y="3769804"/>
            <a:ext cx="1360836" cy="4719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ЕФС МКПП </a:t>
            </a:r>
          </a:p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готова к запуску</a:t>
            </a:r>
            <a:endParaRPr lang="en-US" sz="1400" b="1" dirty="0">
              <a:solidFill>
                <a:schemeClr val="tx2"/>
              </a:solidFill>
              <a:latin typeface="Open Sans" panose="020B0606030504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67A8463B-9880-49AB-86AC-A3347AC03940}"/>
              </a:ext>
            </a:extLst>
          </p:cNvPr>
          <p:cNvSpPr txBox="1"/>
          <p:nvPr/>
        </p:nvSpPr>
        <p:spPr>
          <a:xfrm>
            <a:off x="5871055" y="3524974"/>
            <a:ext cx="627095" cy="3211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ru-RU" sz="1500" b="1" dirty="0">
                <a:solidFill>
                  <a:srgbClr val="00B050"/>
                </a:solidFill>
                <a:latin typeface="Open Sans" panose="020B0806030504020204" pitchFamily="34" charset="0"/>
                <a:ea typeface="Open Sans" panose="020B0806030504020204" pitchFamily="34" charset="0"/>
                <a:cs typeface="Open Sans" panose="020B0806030504020204" pitchFamily="34" charset="0"/>
              </a:rPr>
              <a:t>2017</a:t>
            </a:r>
            <a:endParaRPr lang="en-US" sz="1500" b="1" dirty="0">
              <a:solidFill>
                <a:srgbClr val="00B050"/>
              </a:solidFill>
              <a:latin typeface="Open Sans" panose="020B0806030504020204" pitchFamily="34" charset="0"/>
              <a:ea typeface="Open Sans" panose="020B0806030504020204" pitchFamily="34" charset="0"/>
              <a:cs typeface="Open Sans" panose="020B0806030504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D0D6DB3B-E707-4991-9F94-2090671D9B5D}"/>
              </a:ext>
            </a:extLst>
          </p:cNvPr>
          <p:cNvSpPr txBox="1"/>
          <p:nvPr/>
        </p:nvSpPr>
        <p:spPr>
          <a:xfrm>
            <a:off x="7344374" y="3523063"/>
            <a:ext cx="627095" cy="3211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ru-RU" sz="1500" b="1" dirty="0">
                <a:solidFill>
                  <a:srgbClr val="00B050"/>
                </a:solidFill>
                <a:latin typeface="Open Sans" panose="020B0806030504020204" pitchFamily="34" charset="0"/>
                <a:ea typeface="Open Sans" panose="020B0806030504020204" pitchFamily="34" charset="0"/>
                <a:cs typeface="Open Sans" panose="020B0806030504020204" pitchFamily="34" charset="0"/>
              </a:rPr>
              <a:t>2019</a:t>
            </a:r>
            <a:endParaRPr lang="en-US" sz="1500" b="1" dirty="0">
              <a:solidFill>
                <a:srgbClr val="00B050"/>
              </a:solidFill>
              <a:latin typeface="Open Sans" panose="020B0806030504020204" pitchFamily="34" charset="0"/>
              <a:ea typeface="Open Sans" panose="020B0806030504020204" pitchFamily="34" charset="0"/>
              <a:cs typeface="Open Sans" panose="020B0806030504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8433B55C-CAFF-467C-98CC-E52AEBE6CE4B}"/>
              </a:ext>
            </a:extLst>
          </p:cNvPr>
          <p:cNvSpPr txBox="1"/>
          <p:nvPr/>
        </p:nvSpPr>
        <p:spPr>
          <a:xfrm>
            <a:off x="8827426" y="3515510"/>
            <a:ext cx="627095" cy="3211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ru-RU" sz="1500" b="1" dirty="0">
                <a:solidFill>
                  <a:srgbClr val="00B050"/>
                </a:solidFill>
                <a:latin typeface="Open Sans" panose="020B0806030504020204" pitchFamily="34" charset="0"/>
                <a:ea typeface="Open Sans" panose="020B0806030504020204" pitchFamily="34" charset="0"/>
                <a:cs typeface="Open Sans" panose="020B0806030504020204" pitchFamily="34" charset="0"/>
              </a:rPr>
              <a:t>2020</a:t>
            </a:r>
            <a:endParaRPr lang="en-US" sz="1500" b="1" dirty="0">
              <a:solidFill>
                <a:srgbClr val="00B050"/>
              </a:solidFill>
              <a:latin typeface="Open Sans" panose="020B0806030504020204" pitchFamily="34" charset="0"/>
              <a:ea typeface="Open Sans" panose="020B0806030504020204" pitchFamily="34" charset="0"/>
              <a:cs typeface="Open Sans" panose="020B0806030504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30273F91-B63F-40F1-AE20-408FBE8F29AC}"/>
              </a:ext>
            </a:extLst>
          </p:cNvPr>
          <p:cNvSpPr txBox="1"/>
          <p:nvPr/>
        </p:nvSpPr>
        <p:spPr>
          <a:xfrm>
            <a:off x="10307510" y="3514912"/>
            <a:ext cx="627095" cy="3211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ru-RU" sz="15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806030504020204" pitchFamily="34" charset="0"/>
                <a:ea typeface="Open Sans" panose="020B0806030504020204" pitchFamily="34" charset="0"/>
                <a:cs typeface="Open Sans" panose="020B0806030504020204" pitchFamily="34" charset="0"/>
              </a:rPr>
              <a:t>2021</a:t>
            </a:r>
            <a:endParaRPr lang="en-US" sz="1500" b="1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806030504020204" pitchFamily="34" charset="0"/>
              <a:ea typeface="Open Sans" panose="020B0806030504020204" pitchFamily="34" charset="0"/>
              <a:cs typeface="Open Sans" panose="020B0806030504020204" pitchFamily="34" charset="0"/>
            </a:endParaRPr>
          </a:p>
        </p:txBody>
      </p: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xmlns="" id="{42B5EAC5-9D71-4C2A-9D48-6DD5C3ADE216}"/>
              </a:ext>
            </a:extLst>
          </p:cNvPr>
          <p:cNvCxnSpPr>
            <a:cxnSpLocks/>
          </p:cNvCxnSpPr>
          <p:nvPr/>
        </p:nvCxnSpPr>
        <p:spPr>
          <a:xfrm flipV="1">
            <a:off x="6176214" y="3318498"/>
            <a:ext cx="0" cy="199644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xmlns="" id="{CF999799-6D3E-4318-855C-878363C6FB61}"/>
              </a:ext>
            </a:extLst>
          </p:cNvPr>
          <p:cNvCxnSpPr>
            <a:cxnSpLocks/>
          </p:cNvCxnSpPr>
          <p:nvPr/>
        </p:nvCxnSpPr>
        <p:spPr>
          <a:xfrm flipV="1">
            <a:off x="7658017" y="3305428"/>
            <a:ext cx="0" cy="199644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xmlns="" id="{877CAA6C-938B-4F62-8365-39F281B5906B}"/>
              </a:ext>
            </a:extLst>
          </p:cNvPr>
          <p:cNvCxnSpPr>
            <a:cxnSpLocks/>
          </p:cNvCxnSpPr>
          <p:nvPr/>
        </p:nvCxnSpPr>
        <p:spPr>
          <a:xfrm flipV="1">
            <a:off x="9139820" y="3305428"/>
            <a:ext cx="0" cy="199644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xmlns="" id="{91F6F3F3-DAB5-49E1-A88F-451470388591}"/>
              </a:ext>
            </a:extLst>
          </p:cNvPr>
          <p:cNvCxnSpPr>
            <a:cxnSpLocks/>
          </p:cNvCxnSpPr>
          <p:nvPr/>
        </p:nvCxnSpPr>
        <p:spPr>
          <a:xfrm flipV="1">
            <a:off x="10621622" y="3300366"/>
            <a:ext cx="0" cy="199644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472CE56F-119C-4D18-8C46-1FAD519AC7C9}"/>
              </a:ext>
            </a:extLst>
          </p:cNvPr>
          <p:cNvSpPr/>
          <p:nvPr/>
        </p:nvSpPr>
        <p:spPr>
          <a:xfrm>
            <a:off x="5616689" y="3275726"/>
            <a:ext cx="5488504" cy="16527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3EE30D73-AD51-4D8D-B747-AA0E41EE31BB}"/>
              </a:ext>
            </a:extLst>
          </p:cNvPr>
          <p:cNvSpPr/>
          <p:nvPr/>
        </p:nvSpPr>
        <p:spPr>
          <a:xfrm>
            <a:off x="5616689" y="3275726"/>
            <a:ext cx="4175322" cy="16735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: скругленные углы 19">
            <a:extLst>
              <a:ext uri="{FF2B5EF4-FFF2-40B4-BE49-F238E27FC236}">
                <a16:creationId xmlns:a16="http://schemas.microsoft.com/office/drawing/2014/main" xmlns="" id="{E2316FD5-8B0F-43BB-9B2F-462A5BD7A2CC}"/>
              </a:ext>
            </a:extLst>
          </p:cNvPr>
          <p:cNvSpPr/>
          <p:nvPr/>
        </p:nvSpPr>
        <p:spPr>
          <a:xfrm>
            <a:off x="5981369" y="2794338"/>
            <a:ext cx="464894" cy="41640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600" b="1" spc="50" dirty="0">
                <a:solidFill>
                  <a:srgbClr val="00B050"/>
                </a:solidFill>
                <a:latin typeface="Arial Narrow" panose="020B0606020202030204" pitchFamily="34" charset="0"/>
              </a:rPr>
              <a:t>✓</a:t>
            </a:r>
          </a:p>
        </p:txBody>
      </p:sp>
      <p:sp>
        <p:nvSpPr>
          <p:cNvPr id="59" name="Прямоугольник: скругленные углы 19">
            <a:extLst>
              <a:ext uri="{FF2B5EF4-FFF2-40B4-BE49-F238E27FC236}">
                <a16:creationId xmlns:a16="http://schemas.microsoft.com/office/drawing/2014/main" xmlns="" id="{D1F0489F-460C-4383-AA26-04C07DC0ECAC}"/>
              </a:ext>
            </a:extLst>
          </p:cNvPr>
          <p:cNvSpPr/>
          <p:nvPr/>
        </p:nvSpPr>
        <p:spPr>
          <a:xfrm>
            <a:off x="7441848" y="2793349"/>
            <a:ext cx="464894" cy="41640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600" b="1" spc="50" dirty="0">
                <a:solidFill>
                  <a:srgbClr val="00B050"/>
                </a:solidFill>
                <a:latin typeface="Arial Narrow" panose="020B0606020202030204" pitchFamily="34" charset="0"/>
              </a:rPr>
              <a:t>✓</a:t>
            </a:r>
          </a:p>
        </p:txBody>
      </p:sp>
      <p:sp>
        <p:nvSpPr>
          <p:cNvPr id="60" name="Прямоугольник: скругленные углы 19">
            <a:extLst>
              <a:ext uri="{FF2B5EF4-FFF2-40B4-BE49-F238E27FC236}">
                <a16:creationId xmlns:a16="http://schemas.microsoft.com/office/drawing/2014/main" xmlns="" id="{041C01F2-8E69-4619-8CFE-F297457EC71D}"/>
              </a:ext>
            </a:extLst>
          </p:cNvPr>
          <p:cNvSpPr/>
          <p:nvPr/>
        </p:nvSpPr>
        <p:spPr>
          <a:xfrm>
            <a:off x="8969417" y="2803446"/>
            <a:ext cx="464894" cy="41640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600" b="1" spc="50" dirty="0">
                <a:solidFill>
                  <a:srgbClr val="00B050"/>
                </a:solidFill>
                <a:latin typeface="Arial Narrow" panose="020B0606020202030204" pitchFamily="34" charset="0"/>
              </a:rPr>
              <a:t>✓</a:t>
            </a:r>
          </a:p>
        </p:txBody>
      </p:sp>
      <p:sp>
        <p:nvSpPr>
          <p:cNvPr id="61" name="Равнобедренный треугольник 60">
            <a:extLst>
              <a:ext uri="{FF2B5EF4-FFF2-40B4-BE49-F238E27FC236}">
                <a16:creationId xmlns:a16="http://schemas.microsoft.com/office/drawing/2014/main" xmlns="" id="{A73500C2-5544-453F-B164-920B6D7D26FF}"/>
              </a:ext>
            </a:extLst>
          </p:cNvPr>
          <p:cNvSpPr/>
          <p:nvPr/>
        </p:nvSpPr>
        <p:spPr>
          <a:xfrm rot="5400000">
            <a:off x="10985106" y="3208724"/>
            <a:ext cx="327006" cy="28190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7A7294D9-ECA6-4F4F-9891-92817748FCCC}"/>
              </a:ext>
            </a:extLst>
          </p:cNvPr>
          <p:cNvSpPr txBox="1"/>
          <p:nvPr/>
        </p:nvSpPr>
        <p:spPr>
          <a:xfrm>
            <a:off x="6293689" y="1841791"/>
            <a:ext cx="37559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наличие инструментов контроля</a:t>
            </a:r>
            <a:endParaRPr lang="en-US" sz="1600" b="1" dirty="0">
              <a:solidFill>
                <a:schemeClr val="bg2">
                  <a:lumMod val="25000"/>
                </a:schemeClr>
              </a:solidFill>
              <a:latin typeface="Open Sans" panose="020B0606030504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2771BB29-3DB3-4F06-A8B1-A1B04BACECA5}"/>
              </a:ext>
            </a:extLst>
          </p:cNvPr>
          <p:cNvSpPr txBox="1"/>
          <p:nvPr/>
        </p:nvSpPr>
        <p:spPr>
          <a:xfrm>
            <a:off x="839698" y="3532259"/>
            <a:ext cx="13909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Разработка </a:t>
            </a:r>
          </a:p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законопроекта</a:t>
            </a:r>
            <a:endParaRPr lang="en-US" sz="1400" b="1" dirty="0">
              <a:solidFill>
                <a:schemeClr val="tx2"/>
              </a:solidFill>
            </a:endParaRP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xmlns="" id="{9BB443FD-1EE3-41D4-9D92-263F15EE8013}"/>
              </a:ext>
            </a:extLst>
          </p:cNvPr>
          <p:cNvCxnSpPr>
            <a:cxnSpLocks/>
          </p:cNvCxnSpPr>
          <p:nvPr/>
        </p:nvCxnSpPr>
        <p:spPr>
          <a:xfrm flipV="1">
            <a:off x="1485655" y="3309142"/>
            <a:ext cx="0" cy="221344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xmlns="" id="{F2680EC9-4761-4E42-896E-11832D21143B}"/>
              </a:ext>
            </a:extLst>
          </p:cNvPr>
          <p:cNvCxnSpPr>
            <a:cxnSpLocks/>
          </p:cNvCxnSpPr>
          <p:nvPr/>
        </p:nvCxnSpPr>
        <p:spPr>
          <a:xfrm flipV="1">
            <a:off x="2988526" y="3294652"/>
            <a:ext cx="0" cy="221344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xmlns="" id="{81A49ECB-04CF-4DC9-9731-DE498D0794B7}"/>
              </a:ext>
            </a:extLst>
          </p:cNvPr>
          <p:cNvCxnSpPr>
            <a:cxnSpLocks/>
          </p:cNvCxnSpPr>
          <p:nvPr/>
        </p:nvCxnSpPr>
        <p:spPr>
          <a:xfrm flipV="1">
            <a:off x="3970153" y="3294652"/>
            <a:ext cx="0" cy="221344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8AE407E4-F4DB-40CD-99C4-F86699B9F479}"/>
              </a:ext>
            </a:extLst>
          </p:cNvPr>
          <p:cNvSpPr/>
          <p:nvPr/>
        </p:nvSpPr>
        <p:spPr>
          <a:xfrm>
            <a:off x="1002330" y="3261721"/>
            <a:ext cx="3737418" cy="18869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xmlns="" id="{1ABC1BB9-BD85-4598-A4F7-382AC6861E58}"/>
              </a:ext>
            </a:extLst>
          </p:cNvPr>
          <p:cNvSpPr/>
          <p:nvPr/>
        </p:nvSpPr>
        <p:spPr>
          <a:xfrm>
            <a:off x="1004912" y="3350521"/>
            <a:ext cx="2440855" cy="99901"/>
          </a:xfrm>
          <a:prstGeom prst="rect">
            <a:avLst/>
          </a:prstGeom>
          <a:solidFill>
            <a:srgbClr val="029DE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xmlns="" id="{867601D6-C338-4566-A5A0-7810A8DE78C7}"/>
              </a:ext>
            </a:extLst>
          </p:cNvPr>
          <p:cNvSpPr/>
          <p:nvPr/>
        </p:nvSpPr>
        <p:spPr>
          <a:xfrm>
            <a:off x="1004981" y="3262059"/>
            <a:ext cx="721541" cy="999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D7E87677-71AB-43BA-8C29-6BCEF6A34965}"/>
              </a:ext>
            </a:extLst>
          </p:cNvPr>
          <p:cNvSpPr txBox="1"/>
          <p:nvPr/>
        </p:nvSpPr>
        <p:spPr>
          <a:xfrm>
            <a:off x="2216466" y="3518604"/>
            <a:ext cx="142667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Общественные </a:t>
            </a:r>
          </a:p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слушания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9D6BD0E0-39A8-4BD4-88B4-7F2F6877C95F}"/>
              </a:ext>
            </a:extLst>
          </p:cNvPr>
          <p:cNvSpPr txBox="1"/>
          <p:nvPr/>
        </p:nvSpPr>
        <p:spPr>
          <a:xfrm>
            <a:off x="3471395" y="3517941"/>
            <a:ext cx="12518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Внесение </a:t>
            </a:r>
          </a:p>
          <a:p>
            <a:pPr algn="ctr">
              <a:spcBef>
                <a:spcPct val="0"/>
              </a:spcBef>
            </a:pPr>
            <a:r>
              <a:rPr lang="ru-RU" sz="1400" b="1" dirty="0">
                <a:solidFill>
                  <a:schemeClr val="tx2"/>
                </a:solidFill>
              </a:rPr>
              <a:t>в Госдуму РФ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72" name="Знак умножения 71">
            <a:extLst>
              <a:ext uri="{FF2B5EF4-FFF2-40B4-BE49-F238E27FC236}">
                <a16:creationId xmlns:a16="http://schemas.microsoft.com/office/drawing/2014/main" xmlns="" id="{F5074B8A-233E-438B-8EDA-AC6A09D72AAF}"/>
              </a:ext>
            </a:extLst>
          </p:cNvPr>
          <p:cNvSpPr/>
          <p:nvPr/>
        </p:nvSpPr>
        <p:spPr>
          <a:xfrm>
            <a:off x="1587323" y="3190229"/>
            <a:ext cx="338554" cy="338554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Знак умножения 72">
            <a:extLst>
              <a:ext uri="{FF2B5EF4-FFF2-40B4-BE49-F238E27FC236}">
                <a16:creationId xmlns:a16="http://schemas.microsoft.com/office/drawing/2014/main" xmlns="" id="{3C15F1EC-2AEE-4C6C-888E-28D822C94174}"/>
              </a:ext>
            </a:extLst>
          </p:cNvPr>
          <p:cNvSpPr/>
          <p:nvPr/>
        </p:nvSpPr>
        <p:spPr>
          <a:xfrm>
            <a:off x="3310063" y="3187274"/>
            <a:ext cx="338554" cy="338554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Равнобедренный треугольник 73">
            <a:extLst>
              <a:ext uri="{FF2B5EF4-FFF2-40B4-BE49-F238E27FC236}">
                <a16:creationId xmlns:a16="http://schemas.microsoft.com/office/drawing/2014/main" xmlns="" id="{DA527C3D-6AE7-4104-9589-626312A50700}"/>
              </a:ext>
            </a:extLst>
          </p:cNvPr>
          <p:cNvSpPr/>
          <p:nvPr/>
        </p:nvSpPr>
        <p:spPr>
          <a:xfrm rot="5400000">
            <a:off x="4655856" y="3209731"/>
            <a:ext cx="327006" cy="28190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xmlns="" id="{6D7BB135-C4F3-48B1-BAAD-77D816C0292A}"/>
              </a:ext>
            </a:extLst>
          </p:cNvPr>
          <p:cNvSpPr/>
          <p:nvPr/>
        </p:nvSpPr>
        <p:spPr>
          <a:xfrm>
            <a:off x="1002329" y="4428796"/>
            <a:ext cx="171315" cy="1904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xmlns="" id="{5DBFB94F-ACAA-4DB0-B408-EE471AE3CBB9}"/>
              </a:ext>
            </a:extLst>
          </p:cNvPr>
          <p:cNvSpPr/>
          <p:nvPr/>
        </p:nvSpPr>
        <p:spPr>
          <a:xfrm>
            <a:off x="1012903" y="4787859"/>
            <a:ext cx="171315" cy="190421"/>
          </a:xfrm>
          <a:prstGeom prst="rect">
            <a:avLst/>
          </a:prstGeom>
          <a:solidFill>
            <a:srgbClr val="029DE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4555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Группа 62">
            <a:extLst>
              <a:ext uri="{FF2B5EF4-FFF2-40B4-BE49-F238E27FC236}">
                <a16:creationId xmlns:a16="http://schemas.microsoft.com/office/drawing/2014/main" xmlns="" id="{3CED9E49-57CD-4688-BA8E-509E437B45CF}"/>
              </a:ext>
            </a:extLst>
          </p:cNvPr>
          <p:cNvGrpSpPr/>
          <p:nvPr/>
        </p:nvGrpSpPr>
        <p:grpSpPr>
          <a:xfrm>
            <a:off x="-479" y="0"/>
            <a:ext cx="9573006" cy="785312"/>
            <a:chOff x="-479" y="0"/>
            <a:chExt cx="9573006" cy="785312"/>
          </a:xfrm>
        </p:grpSpPr>
        <p:grpSp>
          <p:nvGrpSpPr>
            <p:cNvPr id="76" name="Группа 75">
              <a:extLst>
                <a:ext uri="{FF2B5EF4-FFF2-40B4-BE49-F238E27FC236}">
                  <a16:creationId xmlns:a16="http://schemas.microsoft.com/office/drawing/2014/main" xmlns="" id="{CE2FF928-6627-4C91-981A-4B9358765B26}"/>
                </a:ext>
              </a:extLst>
            </p:cNvPr>
            <p:cNvGrpSpPr/>
            <p:nvPr/>
          </p:nvGrpSpPr>
          <p:grpSpPr>
            <a:xfrm>
              <a:off x="-479" y="0"/>
              <a:ext cx="9573006" cy="785312"/>
              <a:chOff x="-479" y="0"/>
              <a:chExt cx="9573006" cy="785312"/>
            </a:xfrm>
          </p:grpSpPr>
          <p:pic>
            <p:nvPicPr>
              <p:cNvPr id="87" name="Рисунок 86">
                <a:extLst>
                  <a:ext uri="{FF2B5EF4-FFF2-40B4-BE49-F238E27FC236}">
                    <a16:creationId xmlns:a16="http://schemas.microsoft.com/office/drawing/2014/main" xmlns="" id="{90A961CB-7561-4698-A72C-CAF1D87DB9E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8107"/>
              <a:stretch/>
            </p:blipFill>
            <p:spPr>
              <a:xfrm rot="10800000" flipV="1">
                <a:off x="8259096" y="0"/>
                <a:ext cx="1313431" cy="785312"/>
              </a:xfrm>
              <a:prstGeom prst="rect">
                <a:avLst/>
              </a:prstGeom>
            </p:spPr>
          </p:pic>
          <p:sp>
            <p:nvSpPr>
              <p:cNvPr id="89" name="Прямоугольник 88">
                <a:extLst>
                  <a:ext uri="{FF2B5EF4-FFF2-40B4-BE49-F238E27FC236}">
                    <a16:creationId xmlns:a16="http://schemas.microsoft.com/office/drawing/2014/main" xmlns="" id="{5836F457-3CE0-40E0-B542-A36354938A53}"/>
                  </a:ext>
                </a:extLst>
              </p:cNvPr>
              <p:cNvSpPr/>
              <p:nvPr/>
            </p:nvSpPr>
            <p:spPr>
              <a:xfrm>
                <a:off x="-479" y="0"/>
                <a:ext cx="8363244" cy="785312"/>
              </a:xfrm>
              <a:prstGeom prst="rect">
                <a:avLst/>
              </a:prstGeom>
              <a:solidFill>
                <a:srgbClr val="FF222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xmlns="" id="{C87FA513-7C12-4B57-B69C-F575476A8044}"/>
                </a:ext>
              </a:extLst>
            </p:cNvPr>
            <p:cNvSpPr txBox="1"/>
            <p:nvPr/>
          </p:nvSpPr>
          <p:spPr>
            <a:xfrm>
              <a:off x="1" y="115501"/>
              <a:ext cx="61445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4</a:t>
              </a:r>
            </a:p>
          </p:txBody>
        </p:sp>
        <p:cxnSp>
          <p:nvCxnSpPr>
            <p:cNvPr id="85" name="Прямая соединительная линия 84">
              <a:extLst>
                <a:ext uri="{FF2B5EF4-FFF2-40B4-BE49-F238E27FC236}">
                  <a16:creationId xmlns:a16="http://schemas.microsoft.com/office/drawing/2014/main" xmlns="" id="{027810B3-77B8-4C8C-97C7-C9EA360FE5CC}"/>
                </a:ext>
              </a:extLst>
            </p:cNvPr>
            <p:cNvCxnSpPr/>
            <p:nvPr/>
          </p:nvCxnSpPr>
          <p:spPr>
            <a:xfrm>
              <a:off x="614462" y="115501"/>
              <a:ext cx="0" cy="52322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B7FF8A2-B7D0-41A6-BC0D-6ECED2E3C109}"/>
              </a:ext>
            </a:extLst>
          </p:cNvPr>
          <p:cNvSpPr/>
          <p:nvPr/>
        </p:nvSpPr>
        <p:spPr>
          <a:xfrm>
            <a:off x="697778" y="181970"/>
            <a:ext cx="52534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ЦИФРОВИЗАЦИЯ БЕЗ РЕГУЛИРОВАНИЯ</a:t>
            </a:r>
          </a:p>
        </p:txBody>
      </p:sp>
      <p:pic>
        <p:nvPicPr>
          <p:cNvPr id="68" name="Рисунок 67">
            <a:extLst>
              <a:ext uri="{FF2B5EF4-FFF2-40B4-BE49-F238E27FC236}">
                <a16:creationId xmlns:a16="http://schemas.microsoft.com/office/drawing/2014/main" xmlns="" id="{F485E3F9-D512-499B-ADEC-6B68253BFF4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0968" y="214666"/>
            <a:ext cx="2690849" cy="369332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9FFF7266-2550-47BE-9E48-434BFDC3C5D0}"/>
              </a:ext>
            </a:extLst>
          </p:cNvPr>
          <p:cNvSpPr txBox="1"/>
          <p:nvPr/>
        </p:nvSpPr>
        <p:spPr>
          <a:xfrm>
            <a:off x="3820537" y="6149946"/>
            <a:ext cx="4550926" cy="4055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ru-RU" sz="2000" b="1" dirty="0">
                <a:solidFill>
                  <a:srgbClr val="FF222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едобросовестная конкуренция</a:t>
            </a:r>
            <a:endParaRPr lang="en-US" sz="2000" b="1" dirty="0">
              <a:solidFill>
                <a:srgbClr val="FF222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75" name="Рисунок 74">
            <a:extLst>
              <a:ext uri="{FF2B5EF4-FFF2-40B4-BE49-F238E27FC236}">
                <a16:creationId xmlns:a16="http://schemas.microsoft.com/office/drawing/2014/main" xmlns="" id="{509CDE5A-18F3-4D09-B482-A475D4709C0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8047" y="1157700"/>
            <a:ext cx="2858968" cy="447369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xmlns="" id="{CB887DB2-2E63-4A7D-94B6-CEBB9C6BE4F9}"/>
              </a:ext>
            </a:extLst>
          </p:cNvPr>
          <p:cNvCxnSpPr>
            <a:cxnSpLocks/>
          </p:cNvCxnSpPr>
          <p:nvPr/>
        </p:nvCxnSpPr>
        <p:spPr>
          <a:xfrm flipV="1">
            <a:off x="3477237" y="1673440"/>
            <a:ext cx="3456223" cy="1760707"/>
          </a:xfrm>
          <a:prstGeom prst="line">
            <a:avLst/>
          </a:prstGeom>
          <a:ln w="38100">
            <a:solidFill>
              <a:schemeClr val="accent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xmlns="" id="{0A86CEF4-279C-4D55-864A-9C0630E292DF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3492966" y="3896437"/>
            <a:ext cx="3440494" cy="1367342"/>
          </a:xfrm>
          <a:prstGeom prst="line">
            <a:avLst/>
          </a:prstGeom>
          <a:ln w="38100">
            <a:solidFill>
              <a:schemeClr val="accent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xmlns="" id="{C00CE180-0E90-455C-968F-FFB60D08F020}"/>
              </a:ext>
            </a:extLst>
          </p:cNvPr>
          <p:cNvSpPr/>
          <p:nvPr/>
        </p:nvSpPr>
        <p:spPr>
          <a:xfrm>
            <a:off x="3271706" y="3443978"/>
            <a:ext cx="442520" cy="452459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Овал 92">
            <a:extLst>
              <a:ext uri="{FF2B5EF4-FFF2-40B4-BE49-F238E27FC236}">
                <a16:creationId xmlns:a16="http://schemas.microsoft.com/office/drawing/2014/main" xmlns="" id="{F4B6E797-7942-4498-8249-E813F8E4B7D8}"/>
              </a:ext>
            </a:extLst>
          </p:cNvPr>
          <p:cNvSpPr/>
          <p:nvPr/>
        </p:nvSpPr>
        <p:spPr>
          <a:xfrm>
            <a:off x="5904000" y="1371159"/>
            <a:ext cx="4172505" cy="4176000"/>
          </a:xfrm>
          <a:prstGeom prst="ellipse">
            <a:avLst/>
          </a:prstGeom>
          <a:blipFill dpi="0"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-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1000" b="-5000"/>
            </a:stretch>
          </a:blip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51557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EF753E31-098F-4107-BD48-75D99A6706EA}"/>
              </a:ext>
            </a:extLst>
          </p:cNvPr>
          <p:cNvGrpSpPr/>
          <p:nvPr/>
        </p:nvGrpSpPr>
        <p:grpSpPr>
          <a:xfrm>
            <a:off x="-479" y="0"/>
            <a:ext cx="9573006" cy="785312"/>
            <a:chOff x="-479" y="0"/>
            <a:chExt cx="9573006" cy="785312"/>
          </a:xfrm>
        </p:grpSpPr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xmlns="" id="{61B9E999-7740-4C83-9A8D-57249E42ACBC}"/>
                </a:ext>
              </a:extLst>
            </p:cNvPr>
            <p:cNvGrpSpPr/>
            <p:nvPr/>
          </p:nvGrpSpPr>
          <p:grpSpPr>
            <a:xfrm>
              <a:off x="-479" y="0"/>
              <a:ext cx="9573006" cy="785312"/>
              <a:chOff x="-479" y="0"/>
              <a:chExt cx="9573006" cy="785312"/>
            </a:xfrm>
          </p:grpSpPr>
          <p:pic>
            <p:nvPicPr>
              <p:cNvPr id="41" name="Рисунок 40">
                <a:extLst>
                  <a:ext uri="{FF2B5EF4-FFF2-40B4-BE49-F238E27FC236}">
                    <a16:creationId xmlns:a16="http://schemas.microsoft.com/office/drawing/2014/main" xmlns="" id="{12C9DC17-B70A-4E48-ADD3-76C32EDE12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8107"/>
              <a:stretch/>
            </p:blipFill>
            <p:spPr>
              <a:xfrm rot="10800000" flipV="1">
                <a:off x="8259096" y="0"/>
                <a:ext cx="1313431" cy="785312"/>
              </a:xfrm>
              <a:prstGeom prst="rect">
                <a:avLst/>
              </a:prstGeom>
            </p:spPr>
          </p:pic>
          <p:sp>
            <p:nvSpPr>
              <p:cNvPr id="42" name="Прямоугольник 41">
                <a:extLst>
                  <a:ext uri="{FF2B5EF4-FFF2-40B4-BE49-F238E27FC236}">
                    <a16:creationId xmlns:a16="http://schemas.microsoft.com/office/drawing/2014/main" xmlns="" id="{EB4B9635-8D31-431B-98FD-2D9C1345F999}"/>
                  </a:ext>
                </a:extLst>
              </p:cNvPr>
              <p:cNvSpPr/>
              <p:nvPr/>
            </p:nvSpPr>
            <p:spPr>
              <a:xfrm>
                <a:off x="-479" y="0"/>
                <a:ext cx="8363244" cy="785312"/>
              </a:xfrm>
              <a:prstGeom prst="rect">
                <a:avLst/>
              </a:prstGeom>
              <a:solidFill>
                <a:srgbClr val="FF222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xmlns="" id="{50F77B42-F863-41FA-8821-6B35BD5AF825}"/>
                </a:ext>
              </a:extLst>
            </p:cNvPr>
            <p:cNvSpPr txBox="1"/>
            <p:nvPr/>
          </p:nvSpPr>
          <p:spPr>
            <a:xfrm>
              <a:off x="1" y="115501"/>
              <a:ext cx="61445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5</a:t>
              </a:r>
            </a:p>
          </p:txBody>
        </p: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xmlns="" id="{3D8CADB4-3A32-44ED-9EF9-0EF218FA47BF}"/>
                </a:ext>
              </a:extLst>
            </p:cNvPr>
            <p:cNvCxnSpPr/>
            <p:nvPr/>
          </p:nvCxnSpPr>
          <p:spPr>
            <a:xfrm>
              <a:off x="614462" y="115501"/>
              <a:ext cx="0" cy="52322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358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7022B83F-4E47-4C38-B8E1-AC98092DC36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0968" y="214666"/>
            <a:ext cx="2690849" cy="369332"/>
          </a:xfrm>
          <a:prstGeom prst="rect">
            <a:avLst/>
          </a:prstGeom>
        </p:spPr>
      </p:pic>
      <p:sp>
        <p:nvSpPr>
          <p:cNvPr id="43" name="Номер слайда 3">
            <a:extLst>
              <a:ext uri="{FF2B5EF4-FFF2-40B4-BE49-F238E27FC236}">
                <a16:creationId xmlns:a16="http://schemas.microsoft.com/office/drawing/2014/main" xmlns="" id="{D095B572-C1D4-46D3-B279-CB282E59EF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57052" y="5725088"/>
            <a:ext cx="551167" cy="365125"/>
          </a:xfrm>
        </p:spPr>
        <p:txBody>
          <a:bodyPr/>
          <a:lstStyle/>
          <a:p>
            <a:fld id="{3775BB8C-5CAE-4C8B-A6F3-DF1239FF634A}" type="slidenum">
              <a:rPr lang="ru-RU" smtClean="0"/>
              <a:t>5</a:t>
            </a:fld>
            <a:endParaRPr lang="ru-RU"/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A5A32A76-891A-41DA-9D7E-F99CE6E429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691" y="1375389"/>
            <a:ext cx="7235017" cy="396795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xmlns="" id="{BB25E96C-D169-4442-BB9F-C1BFFF0902A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8365" y="1230571"/>
            <a:ext cx="3923553" cy="4697986"/>
          </a:xfrm>
          <a:prstGeom prst="rect">
            <a:avLst/>
          </a:prstGeom>
          <a:ln w="38100">
            <a:solidFill>
              <a:srgbClr val="FF222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xmlns="" id="{2694909C-6908-4D54-A15E-07D5A4C9C032}"/>
              </a:ext>
            </a:extLst>
          </p:cNvPr>
          <p:cNvCxnSpPr>
            <a:cxnSpLocks/>
            <a:stCxn id="49" idx="0"/>
          </p:cNvCxnSpPr>
          <p:nvPr/>
        </p:nvCxnSpPr>
        <p:spPr>
          <a:xfrm flipV="1">
            <a:off x="4002597" y="1230571"/>
            <a:ext cx="3409183" cy="2208787"/>
          </a:xfrm>
          <a:prstGeom prst="line">
            <a:avLst/>
          </a:prstGeom>
          <a:ln w="38100">
            <a:solidFill>
              <a:srgbClr val="FF222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xmlns="" id="{5FFCF3FE-E1C5-452E-A2BF-117BB85A9F74}"/>
              </a:ext>
            </a:extLst>
          </p:cNvPr>
          <p:cNvCxnSpPr>
            <a:cxnSpLocks/>
            <a:stCxn id="49" idx="2"/>
          </p:cNvCxnSpPr>
          <p:nvPr/>
        </p:nvCxnSpPr>
        <p:spPr>
          <a:xfrm>
            <a:off x="4002597" y="4150558"/>
            <a:ext cx="3409183" cy="1802303"/>
          </a:xfrm>
          <a:prstGeom prst="line">
            <a:avLst/>
          </a:prstGeom>
          <a:ln w="38100">
            <a:solidFill>
              <a:srgbClr val="FF222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xmlns="" id="{6B4891F8-E73F-4F93-BDFF-F436B7943382}"/>
              </a:ext>
            </a:extLst>
          </p:cNvPr>
          <p:cNvSpPr/>
          <p:nvPr/>
        </p:nvSpPr>
        <p:spPr>
          <a:xfrm>
            <a:off x="3359130" y="3439358"/>
            <a:ext cx="1286934" cy="711200"/>
          </a:xfrm>
          <a:prstGeom prst="roundRect">
            <a:avLst/>
          </a:prstGeom>
          <a:ln w="38100">
            <a:solidFill>
              <a:srgbClr val="FF222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13F23437-2E04-448F-88EC-27285634C05B}"/>
              </a:ext>
            </a:extLst>
          </p:cNvPr>
          <p:cNvSpPr/>
          <p:nvPr/>
        </p:nvSpPr>
        <p:spPr>
          <a:xfrm>
            <a:off x="697778" y="181970"/>
            <a:ext cx="52534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ЦИФРОВИЗАЦИЯ БЕЗ РЕГУЛИРОВАНИЯ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7D4F9503-F18A-43B4-A217-C2D11F28913B}"/>
              </a:ext>
            </a:extLst>
          </p:cNvPr>
          <p:cNvSpPr txBox="1"/>
          <p:nvPr/>
        </p:nvSpPr>
        <p:spPr>
          <a:xfrm>
            <a:off x="3820537" y="6149946"/>
            <a:ext cx="4550926" cy="4055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ru-RU" sz="2000" b="1" dirty="0">
                <a:solidFill>
                  <a:srgbClr val="FF222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едобросовестная конкуренция</a:t>
            </a:r>
            <a:endParaRPr lang="en-US" sz="2000" b="1" dirty="0">
              <a:solidFill>
                <a:srgbClr val="FF222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865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41AFB976-2AAE-4C2E-AFF6-0736A5E106FC}"/>
              </a:ext>
            </a:extLst>
          </p:cNvPr>
          <p:cNvGrpSpPr/>
          <p:nvPr/>
        </p:nvGrpSpPr>
        <p:grpSpPr>
          <a:xfrm>
            <a:off x="-479" y="0"/>
            <a:ext cx="9573006" cy="785312"/>
            <a:chOff x="-479" y="0"/>
            <a:chExt cx="9573006" cy="785312"/>
          </a:xfrm>
        </p:grpSpPr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xmlns="" id="{F0935644-EF59-46C0-8199-66EC6666AA6A}"/>
                </a:ext>
              </a:extLst>
            </p:cNvPr>
            <p:cNvGrpSpPr/>
            <p:nvPr/>
          </p:nvGrpSpPr>
          <p:grpSpPr>
            <a:xfrm>
              <a:off x="-479" y="0"/>
              <a:ext cx="9573006" cy="785312"/>
              <a:chOff x="-479" y="0"/>
              <a:chExt cx="9573006" cy="785312"/>
            </a:xfrm>
          </p:grpSpPr>
          <p:pic>
            <p:nvPicPr>
              <p:cNvPr id="23" name="Рисунок 22">
                <a:extLst>
                  <a:ext uri="{FF2B5EF4-FFF2-40B4-BE49-F238E27FC236}">
                    <a16:creationId xmlns:a16="http://schemas.microsoft.com/office/drawing/2014/main" xmlns="" id="{C65C2BD0-3612-48A6-8FEC-F405CCFE8D9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8107"/>
              <a:stretch/>
            </p:blipFill>
            <p:spPr>
              <a:xfrm rot="10800000" flipV="1">
                <a:off x="8259096" y="0"/>
                <a:ext cx="1313431" cy="785312"/>
              </a:xfrm>
              <a:prstGeom prst="rect">
                <a:avLst/>
              </a:prstGeom>
            </p:spPr>
          </p:pic>
          <p:sp>
            <p:nvSpPr>
              <p:cNvPr id="24" name="Прямоугольник 23">
                <a:extLst>
                  <a:ext uri="{FF2B5EF4-FFF2-40B4-BE49-F238E27FC236}">
                    <a16:creationId xmlns:a16="http://schemas.microsoft.com/office/drawing/2014/main" xmlns="" id="{6F8091E5-E3A7-4958-8C7A-DD7F1101AED0}"/>
                  </a:ext>
                </a:extLst>
              </p:cNvPr>
              <p:cNvSpPr/>
              <p:nvPr/>
            </p:nvSpPr>
            <p:spPr>
              <a:xfrm>
                <a:off x="-479" y="0"/>
                <a:ext cx="8363244" cy="785312"/>
              </a:xfrm>
              <a:prstGeom prst="rect">
                <a:avLst/>
              </a:prstGeom>
              <a:solidFill>
                <a:srgbClr val="FF222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35EBB7DB-B005-4D7C-A4CD-B3B600EE68ED}"/>
                </a:ext>
              </a:extLst>
            </p:cNvPr>
            <p:cNvSpPr txBox="1"/>
            <p:nvPr/>
          </p:nvSpPr>
          <p:spPr>
            <a:xfrm>
              <a:off x="1" y="115501"/>
              <a:ext cx="61445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6</a:t>
              </a:r>
            </a:p>
          </p:txBody>
        </p: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xmlns="" id="{67319C3F-319E-436C-8B01-A7DC2A091F22}"/>
                </a:ext>
              </a:extLst>
            </p:cNvPr>
            <p:cNvCxnSpPr/>
            <p:nvPr/>
          </p:nvCxnSpPr>
          <p:spPr>
            <a:xfrm>
              <a:off x="614462" y="115501"/>
              <a:ext cx="0" cy="52322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4FDF7B49-4C4E-4C5E-9344-16FD55DEEF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50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4FDF7B49-4C4E-4C5E-9344-16FD55DEEF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5EAA201F-96ED-4529-826C-D2287348F572}"/>
              </a:ext>
            </a:extLst>
          </p:cNvPr>
          <p:cNvSpPr/>
          <p:nvPr/>
        </p:nvSpPr>
        <p:spPr>
          <a:xfrm>
            <a:off x="723805" y="38712"/>
            <a:ext cx="479945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ДОБРО И ЗЛО ЦИФРОВИЗАЦИИ </a:t>
            </a:r>
          </a:p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НА АВТОМОБИЛЬНОМ ТРАНСПОРТЕ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BF05EC34-F93C-40A2-9671-C659CCCE437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0968" y="214666"/>
            <a:ext cx="2690849" cy="369332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43967519-80A6-4418-B92A-0E071F1598B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7037" y="1694650"/>
            <a:ext cx="5253843" cy="3241334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2E87DDC6-167B-42B0-A490-480A55340C8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8" t="6822" r="4624" b="12594"/>
          <a:stretch/>
        </p:blipFill>
        <p:spPr>
          <a:xfrm>
            <a:off x="723805" y="1694650"/>
            <a:ext cx="4475348" cy="3241334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ABA88459-732A-4B47-92AE-207E8079008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805" y="1124485"/>
            <a:ext cx="1768142" cy="467193"/>
          </a:xfrm>
          <a:prstGeom prst="rect">
            <a:avLst/>
          </a:prstGeom>
        </p:spPr>
      </p:pic>
      <p:sp>
        <p:nvSpPr>
          <p:cNvPr id="29" name="Стрелка: шеврон 28">
            <a:extLst>
              <a:ext uri="{FF2B5EF4-FFF2-40B4-BE49-F238E27FC236}">
                <a16:creationId xmlns:a16="http://schemas.microsoft.com/office/drawing/2014/main" xmlns="" id="{F17E5699-E791-4E83-A3D1-47772AEE6163}"/>
              </a:ext>
            </a:extLst>
          </p:cNvPr>
          <p:cNvSpPr/>
          <p:nvPr/>
        </p:nvSpPr>
        <p:spPr>
          <a:xfrm>
            <a:off x="5349367" y="3119342"/>
            <a:ext cx="252670" cy="467194"/>
          </a:xfrm>
          <a:prstGeom prst="chevron">
            <a:avLst/>
          </a:prstGeom>
          <a:solidFill>
            <a:srgbClr val="FF22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0" name="Стрелка: шеврон 29">
            <a:extLst>
              <a:ext uri="{FF2B5EF4-FFF2-40B4-BE49-F238E27FC236}">
                <a16:creationId xmlns:a16="http://schemas.microsoft.com/office/drawing/2014/main" xmlns="" id="{A7AA79F1-D734-4A6F-BCA9-86B60A9D1C46}"/>
              </a:ext>
            </a:extLst>
          </p:cNvPr>
          <p:cNvSpPr/>
          <p:nvPr/>
        </p:nvSpPr>
        <p:spPr>
          <a:xfrm>
            <a:off x="5634152" y="3119342"/>
            <a:ext cx="252670" cy="467194"/>
          </a:xfrm>
          <a:prstGeom prst="chevron">
            <a:avLst/>
          </a:prstGeom>
          <a:solidFill>
            <a:srgbClr val="FF22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E265AC4B-93A0-4013-BE6F-7459DAF7B291}"/>
              </a:ext>
            </a:extLst>
          </p:cNvPr>
          <p:cNvSpPr txBox="1"/>
          <p:nvPr/>
        </p:nvSpPr>
        <p:spPr>
          <a:xfrm>
            <a:off x="1858467" y="5609121"/>
            <a:ext cx="3300792" cy="405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ru-RU" sz="2000" b="1" dirty="0">
                <a:solidFill>
                  <a:srgbClr val="FF222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 - виртуальный</a:t>
            </a:r>
            <a:endParaRPr lang="en-US" sz="2000" b="1" dirty="0">
              <a:solidFill>
                <a:srgbClr val="FF222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F9C40499-3E01-4739-8FBF-E2763DFEEBE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4771" y="5395465"/>
            <a:ext cx="939471" cy="825326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D87056EF-1B70-42A2-8434-2DAB83089BD0}"/>
              </a:ext>
            </a:extLst>
          </p:cNvPr>
          <p:cNvSpPr txBox="1"/>
          <p:nvPr/>
        </p:nvSpPr>
        <p:spPr>
          <a:xfrm>
            <a:off x="6374388" y="5609121"/>
            <a:ext cx="3338888" cy="405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ru-RU" sz="2000" b="1" dirty="0">
                <a:solidFill>
                  <a:srgbClr val="FF222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асность - реальная!</a:t>
            </a:r>
            <a:endParaRPr lang="en-US" sz="2000" b="1" dirty="0">
              <a:solidFill>
                <a:srgbClr val="FF222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5805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Группа 32">
            <a:extLst>
              <a:ext uri="{FF2B5EF4-FFF2-40B4-BE49-F238E27FC236}">
                <a16:creationId xmlns:a16="http://schemas.microsoft.com/office/drawing/2014/main" xmlns="" id="{D48C1505-CB20-47A1-9E31-1FC052797FEF}"/>
              </a:ext>
            </a:extLst>
          </p:cNvPr>
          <p:cNvGrpSpPr/>
          <p:nvPr/>
        </p:nvGrpSpPr>
        <p:grpSpPr>
          <a:xfrm>
            <a:off x="-479" y="0"/>
            <a:ext cx="9573006" cy="785312"/>
            <a:chOff x="-479" y="0"/>
            <a:chExt cx="9573006" cy="785312"/>
          </a:xfrm>
        </p:grpSpPr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xmlns="" id="{568714CE-6988-46A1-B4FF-ABE8A7517AD4}"/>
                </a:ext>
              </a:extLst>
            </p:cNvPr>
            <p:cNvGrpSpPr/>
            <p:nvPr/>
          </p:nvGrpSpPr>
          <p:grpSpPr>
            <a:xfrm>
              <a:off x="-479" y="0"/>
              <a:ext cx="9573006" cy="785312"/>
              <a:chOff x="-479" y="0"/>
              <a:chExt cx="9573006" cy="785312"/>
            </a:xfrm>
          </p:grpSpPr>
          <p:pic>
            <p:nvPicPr>
              <p:cNvPr id="45" name="Рисунок 44">
                <a:extLst>
                  <a:ext uri="{FF2B5EF4-FFF2-40B4-BE49-F238E27FC236}">
                    <a16:creationId xmlns:a16="http://schemas.microsoft.com/office/drawing/2014/main" xmlns="" id="{2A53DA64-2FB0-4597-9424-CB78057A3E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8107"/>
              <a:stretch/>
            </p:blipFill>
            <p:spPr>
              <a:xfrm rot="10800000" flipV="1">
                <a:off x="8259096" y="0"/>
                <a:ext cx="1313431" cy="785312"/>
              </a:xfrm>
              <a:prstGeom prst="rect">
                <a:avLst/>
              </a:prstGeom>
            </p:spPr>
          </p:pic>
          <p:sp>
            <p:nvSpPr>
              <p:cNvPr id="46" name="Прямоугольник 45">
                <a:extLst>
                  <a:ext uri="{FF2B5EF4-FFF2-40B4-BE49-F238E27FC236}">
                    <a16:creationId xmlns:a16="http://schemas.microsoft.com/office/drawing/2014/main" xmlns="" id="{24E35D32-7F96-42DE-8105-C449CEB185D1}"/>
                  </a:ext>
                </a:extLst>
              </p:cNvPr>
              <p:cNvSpPr/>
              <p:nvPr/>
            </p:nvSpPr>
            <p:spPr>
              <a:xfrm>
                <a:off x="-479" y="0"/>
                <a:ext cx="8363244" cy="785312"/>
              </a:xfrm>
              <a:prstGeom prst="rect">
                <a:avLst/>
              </a:prstGeom>
              <a:solidFill>
                <a:srgbClr val="FF222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xmlns="" id="{F0D8ECB1-9C89-4C83-BF69-06ECC80055FE}"/>
                </a:ext>
              </a:extLst>
            </p:cNvPr>
            <p:cNvSpPr txBox="1"/>
            <p:nvPr/>
          </p:nvSpPr>
          <p:spPr>
            <a:xfrm>
              <a:off x="1" y="115501"/>
              <a:ext cx="61445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7</a:t>
              </a:r>
            </a:p>
          </p:txBody>
        </p: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xmlns="" id="{943E8039-A47A-450C-AA72-C9BC13F0048F}"/>
                </a:ext>
              </a:extLst>
            </p:cNvPr>
            <p:cNvCxnSpPr/>
            <p:nvPr/>
          </p:nvCxnSpPr>
          <p:spPr>
            <a:xfrm>
              <a:off x="614462" y="115501"/>
              <a:ext cx="0" cy="52322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095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Заголовок 1">
            <a:extLst>
              <a:ext uri="{FF2B5EF4-FFF2-40B4-BE49-F238E27FC236}">
                <a16:creationId xmlns:a16="http://schemas.microsoft.com/office/drawing/2014/main" xmlns="" id="{A09FFF01-87A6-464C-8BBD-6BBECADF4BD3}"/>
              </a:ext>
            </a:extLst>
          </p:cNvPr>
          <p:cNvSpPr txBox="1">
            <a:spLocks/>
          </p:cNvSpPr>
          <p:nvPr/>
        </p:nvSpPr>
        <p:spPr>
          <a:xfrm>
            <a:off x="686149" y="80222"/>
            <a:ext cx="7626112" cy="64633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 2006 ГОДА ВСЁ ПРОИСХОДЯЩЕЕ </a:t>
            </a:r>
          </a:p>
          <a:p>
            <a:pPr algn="l"/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 ОТРАСЛИ – ФИКСИРУЕТСЯ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374FCA4D-3C40-4CED-8113-2DA3C360F7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0968" y="214666"/>
            <a:ext cx="2690849" cy="369332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EC90219F-4202-4221-A30D-4494685ED8C9}"/>
              </a:ext>
            </a:extLst>
          </p:cNvPr>
          <p:cNvSpPr txBox="1"/>
          <p:nvPr/>
        </p:nvSpPr>
        <p:spPr>
          <a:xfrm>
            <a:off x="696208" y="1877461"/>
            <a:ext cx="321463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spcAft>
                <a:spcPts val="800"/>
              </a:spcAft>
            </a:pPr>
            <a:r>
              <a:rPr lang="ru-RU" sz="2000" b="1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гресс                                   не остановить,                          но без актуального законодательства отрасль несет потери</a:t>
            </a:r>
            <a:endParaRPr lang="en-US" sz="2000" b="1" dirty="0">
              <a:solidFill>
                <a:srgbClr val="33333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001D99C2-AAF7-4263-8FF1-050E69302F28}"/>
              </a:ext>
            </a:extLst>
          </p:cNvPr>
          <p:cNvSpPr txBox="1"/>
          <p:nvPr/>
        </p:nvSpPr>
        <p:spPr>
          <a:xfrm>
            <a:off x="7651592" y="1831647"/>
            <a:ext cx="3635228" cy="17228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ru-RU" sz="2000" b="1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ждая брешь                                    в законодательстве – заполняется недобросовестными операторами рынка</a:t>
            </a:r>
            <a:endParaRPr lang="en-US" sz="2000" b="1" dirty="0">
              <a:solidFill>
                <a:srgbClr val="33333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E8B9C3BA-1120-4D73-983D-A7474D1E611A}"/>
              </a:ext>
            </a:extLst>
          </p:cNvPr>
          <p:cNvSpPr txBox="1"/>
          <p:nvPr/>
        </p:nvSpPr>
        <p:spPr>
          <a:xfrm>
            <a:off x="933808" y="6237774"/>
            <a:ext cx="10127131" cy="4055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ru-RU" sz="2000" b="1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раслевой журнал, все выпуски: </a:t>
            </a:r>
            <a:r>
              <a:rPr lang="ru-RU" sz="20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www.rosbuslines.ru/partnership/journal</a:t>
            </a:r>
            <a:r>
              <a:rPr lang="ru-RU" sz="20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US" sz="2000" b="1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7D76DFE4-F752-409B-9242-BE5D40AB45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78654" y="1000608"/>
            <a:ext cx="3605125" cy="5107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46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Рисунок 44">
            <a:extLst>
              <a:ext uri="{FF2B5EF4-FFF2-40B4-BE49-F238E27FC236}">
                <a16:creationId xmlns:a16="http://schemas.microsoft.com/office/drawing/2014/main" xmlns="" id="{A6FC6892-5A6D-403E-83CD-B38DEFA773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4381" y="0"/>
            <a:ext cx="5107619" cy="6858000"/>
          </a:xfrm>
          <a:prstGeom prst="rect">
            <a:avLst/>
          </a:prstGeom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Текст 2">
            <a:extLst>
              <a:ext uri="{FF2B5EF4-FFF2-40B4-BE49-F238E27FC236}">
                <a16:creationId xmlns:a16="http://schemas.microsoft.com/office/drawing/2014/main" xmlns="" id="{8224B6FC-82FC-4B6D-8C9D-66D147A63012}"/>
              </a:ext>
            </a:extLst>
          </p:cNvPr>
          <p:cNvSpPr txBox="1">
            <a:spLocks/>
          </p:cNvSpPr>
          <p:nvPr/>
        </p:nvSpPr>
        <p:spPr>
          <a:xfrm>
            <a:off x="614940" y="1946773"/>
            <a:ext cx="4675517" cy="641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800"/>
              </a:spcAft>
              <a:buNone/>
            </a:pPr>
            <a:r>
              <a:rPr lang="ru-RU" sz="2800" b="1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асибо за внимание!</a:t>
            </a:r>
          </a:p>
        </p:txBody>
      </p:sp>
      <p:sp>
        <p:nvSpPr>
          <p:cNvPr id="42" name="Текст 2">
            <a:extLst>
              <a:ext uri="{FF2B5EF4-FFF2-40B4-BE49-F238E27FC236}">
                <a16:creationId xmlns:a16="http://schemas.microsoft.com/office/drawing/2014/main" xmlns="" id="{A0DE24A0-C3C4-4387-8DBD-E6DD6AB11D0E}"/>
              </a:ext>
            </a:extLst>
          </p:cNvPr>
          <p:cNvSpPr txBox="1">
            <a:spLocks/>
          </p:cNvSpPr>
          <p:nvPr/>
        </p:nvSpPr>
        <p:spPr>
          <a:xfrm>
            <a:off x="614940" y="2927060"/>
            <a:ext cx="7105209" cy="179518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2000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езидент Ассоциации «Развитие автовокзалов страны» </a:t>
            </a:r>
            <a:r>
              <a:rPr lang="ru-RU" sz="2400" b="1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оран Борис</a:t>
            </a:r>
          </a:p>
          <a:p>
            <a:pPr marL="0" indent="0">
              <a:spcAft>
                <a:spcPts val="800"/>
              </a:spcAft>
              <a:buNone/>
            </a:pPr>
            <a:r>
              <a:rPr lang="ru-RU" sz="2000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.: </a:t>
            </a:r>
            <a:r>
              <a:rPr lang="ru-RU" b="1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925 772-27-57</a:t>
            </a:r>
          </a:p>
          <a:p>
            <a:pPr marL="0" indent="0">
              <a:spcAft>
                <a:spcPts val="800"/>
              </a:spcAft>
              <a:buNone/>
            </a:pPr>
            <a:r>
              <a:rPr lang="en-GB" sz="2000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-mail: </a:t>
            </a:r>
            <a:r>
              <a:rPr lang="en-US" sz="2000" b="1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an</a:t>
            </a:r>
            <a:r>
              <a:rPr lang="ru-RU" sz="2000" b="1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@</a:t>
            </a:r>
            <a:r>
              <a:rPr lang="en-US" sz="2000" b="1" dirty="0" err="1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pravs</a:t>
            </a:r>
            <a:r>
              <a:rPr lang="ru-RU" sz="2000" b="1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r>
              <a:rPr lang="en-US" sz="2000" b="1" dirty="0" err="1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</a:t>
            </a:r>
            <a:endParaRPr lang="ru-RU" sz="2000" b="1" dirty="0">
              <a:solidFill>
                <a:srgbClr val="33333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3" name="Текст 2">
            <a:extLst>
              <a:ext uri="{FF2B5EF4-FFF2-40B4-BE49-F238E27FC236}">
                <a16:creationId xmlns:a16="http://schemas.microsoft.com/office/drawing/2014/main" xmlns="" id="{278BBED0-4173-4F43-9F9B-B59741FB8D61}"/>
              </a:ext>
            </a:extLst>
          </p:cNvPr>
          <p:cNvSpPr txBox="1">
            <a:spLocks/>
          </p:cNvSpPr>
          <p:nvPr/>
        </p:nvSpPr>
        <p:spPr>
          <a:xfrm>
            <a:off x="614940" y="4940295"/>
            <a:ext cx="5018683" cy="14752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800"/>
              </a:spcAft>
              <a:buNone/>
            </a:pPr>
            <a:r>
              <a:rPr lang="ru-RU" sz="1600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формационный партнер: Отраслевой журнал                                                                     </a:t>
            </a:r>
            <a:r>
              <a:rPr lang="ru-RU" sz="1600" b="1" dirty="0">
                <a:solidFill>
                  <a:srgbClr val="33333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Российские автобусные линии. Проблемы и перспективы развития»</a:t>
            </a:r>
          </a:p>
          <a:p>
            <a:pPr marL="0" indent="0">
              <a:spcAft>
                <a:spcPts val="800"/>
              </a:spcAft>
              <a:buNone/>
            </a:pPr>
            <a:r>
              <a:rPr lang="en-GB" sz="16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7"/>
              </a:rPr>
              <a:t>www.rosbuslines.ru/partnership/journal</a:t>
            </a:r>
            <a:r>
              <a:rPr lang="ru-RU" sz="16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1600" b="1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0D1815AA-DBF7-408D-9474-304AC6B578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798" y="474819"/>
            <a:ext cx="6054409" cy="830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401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5</TotalTime>
  <Words>245</Words>
  <Application>Microsoft Office PowerPoint</Application>
  <PresentationFormat>Широкоэкранный</PresentationFormat>
  <Paragraphs>77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7" baseType="lpstr">
      <vt:lpstr>Arial</vt:lpstr>
      <vt:lpstr>Arial Narrow</vt:lpstr>
      <vt:lpstr>Calibri</vt:lpstr>
      <vt:lpstr>Calibri Light</vt:lpstr>
      <vt:lpstr>Open Sans</vt:lpstr>
      <vt:lpstr>Open Sans Semibold</vt:lpstr>
      <vt:lpstr>Wingdings 3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МПЛЕКСНОЕ РЕШЕНИЕ ДЛЯ УПРАВЛЕНИЯ ГОРОДСКИМ ОБЩЕСТВЕННЫМ ТРАНСПОРТОМ</dc:title>
  <dc:creator>PR</dc:creator>
  <cp:lastModifiedBy>Loran</cp:lastModifiedBy>
  <cp:revision>608</cp:revision>
  <cp:lastPrinted>2021-07-15T12:19:30Z</cp:lastPrinted>
  <dcterms:created xsi:type="dcterms:W3CDTF">2021-06-04T08:17:47Z</dcterms:created>
  <dcterms:modified xsi:type="dcterms:W3CDTF">2021-09-13T12:58:02Z</dcterms:modified>
</cp:coreProperties>
</file>